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2">
  <p:sldMasterIdLst>
    <p:sldMasterId id="2147484766" r:id="rId1"/>
    <p:sldMasterId id="2147484793" r:id="rId2"/>
  </p:sldMasterIdLst>
  <p:notesMasterIdLst>
    <p:notesMasterId r:id="rId21"/>
  </p:notesMasterIdLst>
  <p:sldIdLst>
    <p:sldId id="2979" r:id="rId3"/>
    <p:sldId id="2997" r:id="rId4"/>
    <p:sldId id="309" r:id="rId5"/>
    <p:sldId id="2980" r:id="rId6"/>
    <p:sldId id="2981" r:id="rId7"/>
    <p:sldId id="2982" r:id="rId8"/>
    <p:sldId id="2983" r:id="rId9"/>
    <p:sldId id="2984" r:id="rId10"/>
    <p:sldId id="3000" r:id="rId11"/>
    <p:sldId id="2986" r:id="rId12"/>
    <p:sldId id="2999" r:id="rId13"/>
    <p:sldId id="2989" r:id="rId14"/>
    <p:sldId id="2990" r:id="rId15"/>
    <p:sldId id="2991" r:id="rId16"/>
    <p:sldId id="2992" r:id="rId17"/>
    <p:sldId id="2993" r:id="rId18"/>
    <p:sldId id="2995" r:id="rId19"/>
    <p:sldId id="2994" r:id="rId20"/>
  </p:sldIdLst>
  <p:sldSz cx="9906000" cy="6858000" type="A4"/>
  <p:notesSz cx="6797675" cy="9926638"/>
  <p:custDataLst>
    <p:tags r:id="rId22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 Narrow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 Narrow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 Narrow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 Narrow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 Narrow" charset="0"/>
        <a:ea typeface="+mn-ea"/>
        <a:cs typeface="+mn-cs"/>
      </a:defRPr>
    </a:lvl5pPr>
    <a:lvl6pPr marL="2286000" algn="l" defTabSz="914400" rtl="0" eaLnBrk="1" latinLnBrk="0" hangingPunct="1">
      <a:defRPr sz="1300" b="1" kern="1200">
        <a:solidFill>
          <a:schemeClr val="tx1"/>
        </a:solidFill>
        <a:latin typeface="Arial Narrow" charset="0"/>
        <a:ea typeface="+mn-ea"/>
        <a:cs typeface="+mn-cs"/>
      </a:defRPr>
    </a:lvl6pPr>
    <a:lvl7pPr marL="2743200" algn="l" defTabSz="914400" rtl="0" eaLnBrk="1" latinLnBrk="0" hangingPunct="1">
      <a:defRPr sz="1300" b="1" kern="1200">
        <a:solidFill>
          <a:schemeClr val="tx1"/>
        </a:solidFill>
        <a:latin typeface="Arial Narrow" charset="0"/>
        <a:ea typeface="+mn-ea"/>
        <a:cs typeface="+mn-cs"/>
      </a:defRPr>
    </a:lvl7pPr>
    <a:lvl8pPr marL="3200400" algn="l" defTabSz="914400" rtl="0" eaLnBrk="1" latinLnBrk="0" hangingPunct="1">
      <a:defRPr sz="1300" b="1" kern="1200">
        <a:solidFill>
          <a:schemeClr val="tx1"/>
        </a:solidFill>
        <a:latin typeface="Arial Narrow" charset="0"/>
        <a:ea typeface="+mn-ea"/>
        <a:cs typeface="+mn-cs"/>
      </a:defRPr>
    </a:lvl8pPr>
    <a:lvl9pPr marL="3657600" algn="l" defTabSz="914400" rtl="0" eaLnBrk="1" latinLnBrk="0" hangingPunct="1">
      <a:defRPr sz="1300" b="1" kern="1200">
        <a:solidFill>
          <a:schemeClr val="tx1"/>
        </a:solidFill>
        <a:latin typeface="Arial Narrow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tion par défaut" id="{9742EF3F-F313-4D3A-9136-BEE4C1B51948}">
          <p14:sldIdLst>
            <p14:sldId id="2979"/>
            <p14:sldId id="2997"/>
            <p14:sldId id="309"/>
            <p14:sldId id="2980"/>
            <p14:sldId id="2981"/>
            <p14:sldId id="2982"/>
            <p14:sldId id="2983"/>
            <p14:sldId id="2984"/>
            <p14:sldId id="3000"/>
            <p14:sldId id="2986"/>
            <p14:sldId id="2999"/>
            <p14:sldId id="2989"/>
            <p14:sldId id="2990"/>
            <p14:sldId id="2991"/>
            <p14:sldId id="2992"/>
            <p14:sldId id="2993"/>
            <p14:sldId id="2995"/>
          </p14:sldIdLst>
        </p14:section>
        <p14:section name="Section sans titre" id="{52F85EA3-002A-4561-A46F-83CE79F9C433}">
          <p14:sldIdLst>
            <p14:sldId id="299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389" userDrawn="1">
          <p15:clr>
            <a:srgbClr val="A4A3A4"/>
          </p15:clr>
        </p15:guide>
        <p15:guide id="2" pos="194" userDrawn="1">
          <p15:clr>
            <a:srgbClr val="A4A3A4"/>
          </p15:clr>
        </p15:guide>
        <p15:guide id="3" pos="6091" userDrawn="1">
          <p15:clr>
            <a:srgbClr val="A4A3A4"/>
          </p15:clr>
        </p15:guide>
        <p15:guide id="4" orient="horz" pos="3974" userDrawn="1">
          <p15:clr>
            <a:srgbClr val="A4A3A4"/>
          </p15:clr>
        </p15:guide>
        <p15:guide id="5" orient="horz" pos="1005">
          <p15:clr>
            <a:srgbClr val="A4A3A4"/>
          </p15:clr>
        </p15:guide>
        <p15:guide id="6" pos="289">
          <p15:clr>
            <a:srgbClr val="A4A3A4"/>
          </p15:clr>
        </p15:guide>
        <p15:guide id="7" pos="5472">
          <p15:clr>
            <a:srgbClr val="A4A3A4"/>
          </p15:clr>
        </p15:guide>
        <p15:guide id="8" orient="horz" pos="1148">
          <p15:clr>
            <a:srgbClr val="A4A3A4"/>
          </p15:clr>
        </p15:guide>
        <p15:guide id="9" orient="horz" pos="885">
          <p15:clr>
            <a:srgbClr val="A4A3A4"/>
          </p15:clr>
        </p15:guide>
        <p15:guide id="10" pos="6040">
          <p15:clr>
            <a:srgbClr val="A4A3A4"/>
          </p15:clr>
        </p15:guide>
        <p15:guide id="11" orient="horz">
          <p15:clr>
            <a:srgbClr val="A4A3A4"/>
          </p15:clr>
        </p15:guide>
        <p15:guide id="12" pos="293">
          <p15:clr>
            <a:srgbClr val="A4A3A4"/>
          </p15:clr>
        </p15:guide>
        <p15:guide id="13" pos="605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hita ARHMIR" initials="GA" lastIdx="1" clrIdx="0">
    <p:extLst>
      <p:ext uri="{19B8F6BF-5375-455C-9EA6-DF929625EA0E}">
        <p15:presenceInfo xmlns:p15="http://schemas.microsoft.com/office/powerpoint/2012/main" userId="Ghita ARHMIR" providerId="None"/>
      </p:ext>
    </p:extLst>
  </p:cmAuthor>
  <p:cmAuthor id="2" name="FARAH RHOUNI" initials="FR" lastIdx="1" clrIdx="1">
    <p:extLst>
      <p:ext uri="{19B8F6BF-5375-455C-9EA6-DF929625EA0E}">
        <p15:presenceInfo xmlns:p15="http://schemas.microsoft.com/office/powerpoint/2012/main" userId="FARAH RHOUNI" providerId="None"/>
      </p:ext>
    </p:extLst>
  </p:cmAuthor>
  <p:cmAuthor id="3" name="Asmae" initials="A" lastIdx="2" clrIdx="2">
    <p:extLst>
      <p:ext uri="{19B8F6BF-5375-455C-9EA6-DF929625EA0E}">
        <p15:presenceInfo xmlns:p15="http://schemas.microsoft.com/office/powerpoint/2012/main" userId="Asmae" providerId="None"/>
      </p:ext>
    </p:extLst>
  </p:cmAuthor>
  <p:cmAuthor id="4" name="Hp" initials="H" lastIdx="14" clrIdx="3">
    <p:extLst>
      <p:ext uri="{19B8F6BF-5375-455C-9EA6-DF929625EA0E}">
        <p15:presenceInfo xmlns:p15="http://schemas.microsoft.com/office/powerpoint/2012/main" userId="Hp" providerId="None"/>
      </p:ext>
    </p:extLst>
  </p:cmAuthor>
  <p:cmAuthor id="5" name="Utilisateur Windows" initials="UW" lastIdx="1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FCFCF"/>
    <a:srgbClr val="34486E"/>
    <a:srgbClr val="FFFFFF"/>
    <a:srgbClr val="C8E6EE"/>
    <a:srgbClr val="EBF8FF"/>
    <a:srgbClr val="FEF7F0"/>
    <a:srgbClr val="FDEDDF"/>
    <a:srgbClr val="FFF0C1"/>
    <a:srgbClr val="FFCA21"/>
    <a:srgbClr val="FFE38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A488322-F2BA-4B5B-9748-0D474271808F}" styleName="Style moyen 3 - Accentuation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7292A2E-F333-43FB-9621-5CBBE7FDCDCB}" styleName="Style léger 2 - Accentuation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912C8C85-51F0-491E-9774-3900AFEF0FD7}" styleName="Style léger 2 - Accentuation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3C2FFA5D-87B4-456A-9821-1D502468CF0F}" styleName="Style à thème 1 - Accentuation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8799B23B-EC83-4686-B30A-512413B5E67A}" styleName="Style léger 3 - Accentuation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68D230F3-CF80-4859-8CE7-A43EE81993B5}" styleName="Style léger 1 - Accentuation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C083E6E3-FA7D-4D7B-A595-EF9225AFEA82}" styleName="Style léger 1 - Accentuation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940675A-B579-460E-94D1-54222C63F5DA}" styleName="Aucun style, grille du tablea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Style moyen 2 - Accentuation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Style moye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Style moyen 2 - Accentuation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1EBBBCC-DAD2-459C-BE2E-F6DE35CF9A28}" styleName="Style foncé 2 - Accentuation 3/Accentuation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660B408-B3CF-4A94-85FC-2B1E0A45F4A2}" styleName="Style foncé 2 - Accentuation 1/Accentuation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46F890A9-2807-4EBB-B81D-B2AA78EC7F39}" styleName="Style foncé 2 - Accentuation 5/Accentuation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Style moyen 1 - Accentuation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508" autoAdjust="0"/>
    <p:restoredTop sz="96395" autoAdjust="0"/>
  </p:normalViewPr>
  <p:slideViewPr>
    <p:cSldViewPr snapToGrid="0" snapToObjects="1">
      <p:cViewPr varScale="1">
        <p:scale>
          <a:sx n="111" d="100"/>
          <a:sy n="111" d="100"/>
        </p:scale>
        <p:origin x="1644" y="126"/>
      </p:cViewPr>
      <p:guideLst>
        <p:guide orient="horz" pos="1389"/>
        <p:guide pos="194"/>
        <p:guide pos="6091"/>
        <p:guide orient="horz" pos="3974"/>
        <p:guide orient="horz" pos="1005"/>
        <p:guide pos="289"/>
        <p:guide pos="5472"/>
        <p:guide orient="horz" pos="1148"/>
        <p:guide orient="horz" pos="885"/>
        <p:guide pos="6040"/>
        <p:guide orient="horz"/>
        <p:guide pos="293"/>
        <p:guide pos="605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 showGuides="1">
      <p:cViewPr varScale="1">
        <p:scale>
          <a:sx n="48" d="100"/>
          <a:sy n="48" d="100"/>
        </p:scale>
        <p:origin x="-2988" y="-114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heme" Target="theme/theme1.xml"/><Relationship Id="rId3" Type="http://schemas.openxmlformats.org/officeDocument/2006/relationships/slide" Target="slides/slide1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A5D966C-4293-43E3-AE01-8A45A48D14EB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121C9DD7-41B8-4D11-ACA1-C52DE9730695}">
      <dgm:prSet phldrT="[Texte]" phldr="1"/>
      <dgm:spPr/>
      <dgm:t>
        <a:bodyPr/>
        <a:lstStyle/>
        <a:p>
          <a:endParaRPr lang="fr-FR"/>
        </a:p>
      </dgm:t>
    </dgm:pt>
    <dgm:pt modelId="{00951EB5-2846-4F2F-8809-264A3EAE6240}" type="parTrans" cxnId="{EC755DD9-D106-4576-9865-3451FFCE52D6}">
      <dgm:prSet/>
      <dgm:spPr/>
      <dgm:t>
        <a:bodyPr/>
        <a:lstStyle/>
        <a:p>
          <a:endParaRPr lang="fr-FR"/>
        </a:p>
      </dgm:t>
    </dgm:pt>
    <dgm:pt modelId="{0C3989B3-5608-4879-8871-432425CDCDFE}" type="sibTrans" cxnId="{EC755DD9-D106-4576-9865-3451FFCE52D6}">
      <dgm:prSet/>
      <dgm:spPr/>
      <dgm:t>
        <a:bodyPr/>
        <a:lstStyle/>
        <a:p>
          <a:endParaRPr lang="fr-FR"/>
        </a:p>
      </dgm:t>
    </dgm:pt>
    <dgm:pt modelId="{544382E4-1208-42C1-BFD6-5CE43719CC84}">
      <dgm:prSet phldrT="[Texte]" custT="1"/>
      <dgm:spPr>
        <a:solidFill>
          <a:schemeClr val="accent1">
            <a:lumMod val="20000"/>
            <a:lumOff val="80000"/>
            <a:alpha val="90000"/>
          </a:schemeClr>
        </a:solidFill>
      </dgm:spPr>
      <dgm:t>
        <a:bodyPr/>
        <a:lstStyle/>
        <a:p>
          <a:pPr rtl="1"/>
          <a:r>
            <a:rPr lang="ar-MA" sz="1800" b="0" i="0" baseline="0" dirty="0">
              <a:solidFill>
                <a:schemeClr val="tx1"/>
              </a:solidFill>
              <a:latin typeface="Calibri" pitchFamily="34" charset="0"/>
              <a:cs typeface="Calibri" pitchFamily="34" charset="0"/>
            </a:rPr>
            <a:t>وضع رهن إشارة الجم</a:t>
          </a:r>
          <a:r>
            <a:rPr lang="ar-MA" sz="1800" b="0" dirty="0">
              <a:solidFill>
                <a:schemeClr val="tx1"/>
              </a:solidFill>
              <a:latin typeface="Calibri" pitchFamily="34" charset="0"/>
              <a:cs typeface="Calibri" pitchFamily="34" charset="0"/>
            </a:rPr>
            <a:t>ا</a:t>
          </a:r>
          <a:r>
            <a:rPr lang="ar-MA" sz="1800" b="0" i="0" baseline="0" dirty="0">
              <a:solidFill>
                <a:schemeClr val="tx1"/>
              </a:solidFill>
              <a:latin typeface="Calibri" pitchFamily="34" charset="0"/>
              <a:cs typeface="Calibri" pitchFamily="34" charset="0"/>
            </a:rPr>
            <a:t>عات الترابية عرض تكويني ملائم للحاجيات</a:t>
          </a:r>
          <a:r>
            <a:rPr lang="ar-MA" sz="1800" b="0" i="0" baseline="0" dirty="0">
              <a:solidFill>
                <a:schemeClr val="bg1"/>
              </a:solidFill>
              <a:latin typeface="Calibri" pitchFamily="34" charset="0"/>
              <a:cs typeface="Calibri" pitchFamily="34" charset="0"/>
            </a:rPr>
            <a:t> </a:t>
          </a:r>
          <a:r>
            <a:rPr lang="ar-MA" sz="1800" b="0" i="0" baseline="0" dirty="0">
              <a:solidFill>
                <a:srgbClr val="34486E"/>
              </a:solidFill>
              <a:latin typeface="Calibri" pitchFamily="34" charset="0"/>
              <a:cs typeface="Calibri" pitchFamily="34" charset="0"/>
            </a:rPr>
            <a:t>المهنية و للمسار الإداري</a:t>
          </a:r>
          <a:r>
            <a:rPr lang="ar-MA" sz="1800" b="0" i="0" dirty="0">
              <a:solidFill>
                <a:srgbClr val="34486E"/>
              </a:solidFill>
              <a:latin typeface="Calibri" pitchFamily="34" charset="0"/>
              <a:cs typeface="Calibri" pitchFamily="34" charset="0"/>
            </a:rPr>
            <a:t> للموظف الجماعي</a:t>
          </a:r>
          <a:endParaRPr lang="fr-FR" sz="1800" dirty="0"/>
        </a:p>
      </dgm:t>
    </dgm:pt>
    <dgm:pt modelId="{091A51F1-85AC-48F3-A581-49A2ABF41721}" type="parTrans" cxnId="{9B12C51D-141A-46AB-AE86-A41F71AAF44E}">
      <dgm:prSet/>
      <dgm:spPr/>
      <dgm:t>
        <a:bodyPr/>
        <a:lstStyle/>
        <a:p>
          <a:endParaRPr lang="fr-FR"/>
        </a:p>
      </dgm:t>
    </dgm:pt>
    <dgm:pt modelId="{BDC07EF5-DA34-4E96-961C-5726B545480C}" type="sibTrans" cxnId="{9B12C51D-141A-46AB-AE86-A41F71AAF44E}">
      <dgm:prSet/>
      <dgm:spPr/>
      <dgm:t>
        <a:bodyPr/>
        <a:lstStyle/>
        <a:p>
          <a:endParaRPr lang="fr-FR"/>
        </a:p>
      </dgm:t>
    </dgm:pt>
    <dgm:pt modelId="{5554F8CE-6C95-41A3-B1E2-B91A0F7AACDB}">
      <dgm:prSet phldrT="[Texte]" phldr="1" custT="1"/>
      <dgm:spPr>
        <a:solidFill>
          <a:schemeClr val="accent1">
            <a:lumMod val="20000"/>
            <a:lumOff val="80000"/>
            <a:alpha val="90000"/>
          </a:schemeClr>
        </a:solidFill>
      </dgm:spPr>
      <dgm:t>
        <a:bodyPr/>
        <a:lstStyle/>
        <a:p>
          <a:endParaRPr lang="fr-FR" sz="1600" dirty="0"/>
        </a:p>
      </dgm:t>
    </dgm:pt>
    <dgm:pt modelId="{210F3F7E-BD69-4A3B-851E-67E092C3DA6A}" type="parTrans" cxnId="{49F9BD40-AAC0-4075-BEEB-C792E37F1AB8}">
      <dgm:prSet/>
      <dgm:spPr/>
      <dgm:t>
        <a:bodyPr/>
        <a:lstStyle/>
        <a:p>
          <a:endParaRPr lang="fr-FR"/>
        </a:p>
      </dgm:t>
    </dgm:pt>
    <dgm:pt modelId="{343D1222-5D6C-4E41-9011-66125E34F43B}" type="sibTrans" cxnId="{49F9BD40-AAC0-4075-BEEB-C792E37F1AB8}">
      <dgm:prSet/>
      <dgm:spPr/>
      <dgm:t>
        <a:bodyPr/>
        <a:lstStyle/>
        <a:p>
          <a:endParaRPr lang="fr-FR"/>
        </a:p>
      </dgm:t>
    </dgm:pt>
    <dgm:pt modelId="{3E016D0E-5D49-4998-838A-F09D58D40D56}">
      <dgm:prSet phldrT="[Texte]" phldr="1" custT="1"/>
      <dgm:spPr/>
      <dgm:t>
        <a:bodyPr/>
        <a:lstStyle/>
        <a:p>
          <a:endParaRPr lang="fr-FR" sz="2800"/>
        </a:p>
      </dgm:t>
    </dgm:pt>
    <dgm:pt modelId="{7271A087-9AF9-48EB-873F-40D35D43CB4C}" type="parTrans" cxnId="{F16FE39A-19A3-4F42-8678-E5C8525F7C1B}">
      <dgm:prSet/>
      <dgm:spPr/>
      <dgm:t>
        <a:bodyPr/>
        <a:lstStyle/>
        <a:p>
          <a:endParaRPr lang="fr-FR"/>
        </a:p>
      </dgm:t>
    </dgm:pt>
    <dgm:pt modelId="{77D12610-CBA9-433F-AF36-41A03AA92498}" type="sibTrans" cxnId="{F16FE39A-19A3-4F42-8678-E5C8525F7C1B}">
      <dgm:prSet/>
      <dgm:spPr/>
      <dgm:t>
        <a:bodyPr/>
        <a:lstStyle/>
        <a:p>
          <a:endParaRPr lang="fr-FR"/>
        </a:p>
      </dgm:t>
    </dgm:pt>
    <dgm:pt modelId="{625ABF29-C62F-4DB5-9314-1BB21747739D}">
      <dgm:prSet phldrT="[Texte]" custT="1"/>
      <dgm:spPr>
        <a:solidFill>
          <a:schemeClr val="accent1">
            <a:lumMod val="20000"/>
            <a:lumOff val="80000"/>
            <a:alpha val="90000"/>
          </a:schemeClr>
        </a:solidFill>
      </dgm:spPr>
      <dgm:t>
        <a:bodyPr/>
        <a:lstStyle/>
        <a:p>
          <a:pPr rtl="1"/>
          <a:r>
            <a:rPr lang="ar-MA" sz="1800" dirty="0"/>
            <a:t>الرفع من مستوى المجهود التكويني لمواجهة الرهانات الحالية</a:t>
          </a:r>
          <a:endParaRPr lang="fr-FR" sz="1800" dirty="0"/>
        </a:p>
      </dgm:t>
    </dgm:pt>
    <dgm:pt modelId="{CF6D8B43-E589-40E7-A4C8-3BBB0C71FFAA}" type="parTrans" cxnId="{B0ED04A5-3CB8-45D5-B0D2-55E1A78943CA}">
      <dgm:prSet/>
      <dgm:spPr/>
      <dgm:t>
        <a:bodyPr/>
        <a:lstStyle/>
        <a:p>
          <a:endParaRPr lang="fr-FR"/>
        </a:p>
      </dgm:t>
    </dgm:pt>
    <dgm:pt modelId="{E7DE2262-AC5B-439D-A3F8-FBC743C6C11F}" type="sibTrans" cxnId="{B0ED04A5-3CB8-45D5-B0D2-55E1A78943CA}">
      <dgm:prSet/>
      <dgm:spPr/>
      <dgm:t>
        <a:bodyPr/>
        <a:lstStyle/>
        <a:p>
          <a:endParaRPr lang="fr-FR"/>
        </a:p>
      </dgm:t>
    </dgm:pt>
    <dgm:pt modelId="{FAA3393E-7217-4D91-82E1-72D3652BAEC5}">
      <dgm:prSet phldrT="[Texte]" phldr="1" custT="1"/>
      <dgm:spPr>
        <a:solidFill>
          <a:schemeClr val="accent1">
            <a:lumMod val="20000"/>
            <a:lumOff val="80000"/>
            <a:alpha val="90000"/>
          </a:schemeClr>
        </a:solidFill>
      </dgm:spPr>
      <dgm:t>
        <a:bodyPr/>
        <a:lstStyle/>
        <a:p>
          <a:endParaRPr lang="fr-FR" sz="1600" dirty="0"/>
        </a:p>
      </dgm:t>
    </dgm:pt>
    <dgm:pt modelId="{7591955C-EDEA-4420-921A-7E70AEF2BFC8}" type="parTrans" cxnId="{4872AC6D-9D2D-4E5C-9747-06E977537DE0}">
      <dgm:prSet/>
      <dgm:spPr/>
      <dgm:t>
        <a:bodyPr/>
        <a:lstStyle/>
        <a:p>
          <a:endParaRPr lang="fr-FR"/>
        </a:p>
      </dgm:t>
    </dgm:pt>
    <dgm:pt modelId="{B7D3A1E3-4967-4A13-B76E-D50E103D3C4C}" type="sibTrans" cxnId="{4872AC6D-9D2D-4E5C-9747-06E977537DE0}">
      <dgm:prSet/>
      <dgm:spPr/>
      <dgm:t>
        <a:bodyPr/>
        <a:lstStyle/>
        <a:p>
          <a:endParaRPr lang="fr-FR"/>
        </a:p>
      </dgm:t>
    </dgm:pt>
    <dgm:pt modelId="{CD0C5BC5-0092-45AA-A13A-257808A772C7}">
      <dgm:prSet phldrT="[Texte]" phldr="1" custT="1"/>
      <dgm:spPr/>
      <dgm:t>
        <a:bodyPr/>
        <a:lstStyle/>
        <a:p>
          <a:endParaRPr lang="fr-FR" sz="1400" dirty="0"/>
        </a:p>
      </dgm:t>
    </dgm:pt>
    <dgm:pt modelId="{3DAD2957-6530-4277-A6E5-7F99073E0F4D}" type="parTrans" cxnId="{61CB0478-A955-4159-8F9A-DF1F3F99108D}">
      <dgm:prSet/>
      <dgm:spPr/>
      <dgm:t>
        <a:bodyPr/>
        <a:lstStyle/>
        <a:p>
          <a:endParaRPr lang="fr-FR"/>
        </a:p>
      </dgm:t>
    </dgm:pt>
    <dgm:pt modelId="{F2811283-6AFB-4313-A131-1D189ED76904}" type="sibTrans" cxnId="{61CB0478-A955-4159-8F9A-DF1F3F99108D}">
      <dgm:prSet/>
      <dgm:spPr/>
      <dgm:t>
        <a:bodyPr/>
        <a:lstStyle/>
        <a:p>
          <a:endParaRPr lang="fr-FR"/>
        </a:p>
      </dgm:t>
    </dgm:pt>
    <dgm:pt modelId="{DEE96BCB-91FA-4188-8BE1-21A1D294D094}">
      <dgm:prSet phldrT="[Texte]" phldr="1" custT="1"/>
      <dgm:spPr>
        <a:solidFill>
          <a:schemeClr val="accent1">
            <a:lumMod val="20000"/>
            <a:lumOff val="80000"/>
            <a:alpha val="90000"/>
          </a:schemeClr>
        </a:solidFill>
      </dgm:spPr>
      <dgm:t>
        <a:bodyPr/>
        <a:lstStyle/>
        <a:p>
          <a:pPr rtl="1"/>
          <a:endParaRPr lang="fr-FR" sz="1600" dirty="0"/>
        </a:p>
      </dgm:t>
    </dgm:pt>
    <dgm:pt modelId="{5FC6160D-60DC-44C5-80BB-703B357E98D2}" type="parTrans" cxnId="{3FFB2497-B24D-4B68-9FDD-D6939BB10892}">
      <dgm:prSet/>
      <dgm:spPr/>
      <dgm:t>
        <a:bodyPr/>
        <a:lstStyle/>
        <a:p>
          <a:endParaRPr lang="fr-FR"/>
        </a:p>
      </dgm:t>
    </dgm:pt>
    <dgm:pt modelId="{5BBD565E-2A81-42F5-9FE3-2621D8593471}" type="sibTrans" cxnId="{3FFB2497-B24D-4B68-9FDD-D6939BB10892}">
      <dgm:prSet/>
      <dgm:spPr/>
      <dgm:t>
        <a:bodyPr/>
        <a:lstStyle/>
        <a:p>
          <a:endParaRPr lang="fr-FR"/>
        </a:p>
      </dgm:t>
    </dgm:pt>
    <dgm:pt modelId="{B4C9E2AC-89BA-4A5C-A0A1-59D5271F5227}">
      <dgm:prSet phldrT="[Texte]" phldr="1" custT="1"/>
      <dgm:spPr>
        <a:solidFill>
          <a:schemeClr val="accent1">
            <a:lumMod val="20000"/>
            <a:lumOff val="80000"/>
            <a:alpha val="90000"/>
          </a:schemeClr>
        </a:solidFill>
      </dgm:spPr>
      <dgm:t>
        <a:bodyPr/>
        <a:lstStyle/>
        <a:p>
          <a:pPr rtl="1"/>
          <a:endParaRPr lang="fr-FR" sz="1400" dirty="0"/>
        </a:p>
      </dgm:t>
    </dgm:pt>
    <dgm:pt modelId="{E3F80775-1DD3-473C-8D95-36F2AB216F57}" type="parTrans" cxnId="{9A1CC108-7D87-425D-BBCC-51AB7EFFC42B}">
      <dgm:prSet/>
      <dgm:spPr/>
      <dgm:t>
        <a:bodyPr/>
        <a:lstStyle/>
        <a:p>
          <a:endParaRPr lang="fr-FR"/>
        </a:p>
      </dgm:t>
    </dgm:pt>
    <dgm:pt modelId="{ACB4AA67-2728-4B63-9CFB-8928FFDAC3F8}" type="sibTrans" cxnId="{9A1CC108-7D87-425D-BBCC-51AB7EFFC42B}">
      <dgm:prSet/>
      <dgm:spPr/>
      <dgm:t>
        <a:bodyPr/>
        <a:lstStyle/>
        <a:p>
          <a:endParaRPr lang="fr-FR"/>
        </a:p>
      </dgm:t>
    </dgm:pt>
    <dgm:pt modelId="{83B36DA9-05CF-4E86-B8D7-1C7A24B43CEC}">
      <dgm:prSet custT="1"/>
      <dgm:spPr>
        <a:solidFill>
          <a:schemeClr val="accent1">
            <a:lumMod val="20000"/>
            <a:lumOff val="80000"/>
            <a:alpha val="90000"/>
          </a:schemeClr>
        </a:solidFill>
      </dgm:spPr>
      <dgm:t>
        <a:bodyPr/>
        <a:lstStyle/>
        <a:p>
          <a:pPr rtl="1"/>
          <a:endParaRPr lang="fr-FR" sz="1600" dirty="0"/>
        </a:p>
      </dgm:t>
    </dgm:pt>
    <dgm:pt modelId="{7905A86F-9617-4296-80B7-FEB2B4A7C070}" type="parTrans" cxnId="{3A05D980-0013-4A1A-8C91-3661D0BB2DF9}">
      <dgm:prSet/>
      <dgm:spPr/>
      <dgm:t>
        <a:bodyPr/>
        <a:lstStyle/>
        <a:p>
          <a:endParaRPr lang="fr-FR"/>
        </a:p>
      </dgm:t>
    </dgm:pt>
    <dgm:pt modelId="{D6E8E6A0-4213-4040-8D84-00F0A4CC376F}" type="sibTrans" cxnId="{3A05D980-0013-4A1A-8C91-3661D0BB2DF9}">
      <dgm:prSet/>
      <dgm:spPr/>
      <dgm:t>
        <a:bodyPr/>
        <a:lstStyle/>
        <a:p>
          <a:endParaRPr lang="fr-FR"/>
        </a:p>
      </dgm:t>
    </dgm:pt>
    <dgm:pt modelId="{B9BACC1E-70D0-4621-B093-059E429449D4}">
      <dgm:prSet phldrT="[Texte]" custT="1"/>
      <dgm:spPr/>
      <dgm:t>
        <a:bodyPr/>
        <a:lstStyle/>
        <a:p>
          <a:endParaRPr lang="fr-FR" sz="1600" dirty="0"/>
        </a:p>
      </dgm:t>
    </dgm:pt>
    <dgm:pt modelId="{02B042E2-FDD8-400B-81B1-DE16F7587DD5}" type="parTrans" cxnId="{0C69A52A-860F-41DC-8DF3-221A00525145}">
      <dgm:prSet/>
      <dgm:spPr/>
      <dgm:t>
        <a:bodyPr/>
        <a:lstStyle/>
        <a:p>
          <a:endParaRPr lang="fr-FR"/>
        </a:p>
      </dgm:t>
    </dgm:pt>
    <dgm:pt modelId="{18659909-6335-4242-8B75-491F07D70EDB}" type="sibTrans" cxnId="{0C69A52A-860F-41DC-8DF3-221A00525145}">
      <dgm:prSet/>
      <dgm:spPr/>
      <dgm:t>
        <a:bodyPr/>
        <a:lstStyle/>
        <a:p>
          <a:endParaRPr lang="fr-FR"/>
        </a:p>
      </dgm:t>
    </dgm:pt>
    <dgm:pt modelId="{C4DD55C6-BBD7-4B91-93C0-CCD031AC5369}">
      <dgm:prSet custT="1"/>
      <dgm:spPr>
        <a:solidFill>
          <a:schemeClr val="accent1">
            <a:lumMod val="20000"/>
            <a:lumOff val="80000"/>
            <a:alpha val="90000"/>
          </a:schemeClr>
        </a:solidFill>
      </dgm:spPr>
      <dgm:t>
        <a:bodyPr/>
        <a:lstStyle/>
        <a:p>
          <a:pPr marL="0" marR="0" lvl="0" indent="0" defTabSz="914400" rtl="1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ar-MA" sz="1800" dirty="0"/>
            <a:t>وضع منظومة للهندسة التكوينية مرتبطة بتدبير توقعي للوظائف و الكفاءات </a:t>
          </a:r>
          <a:endParaRPr lang="fr-FR" sz="1800" dirty="0"/>
        </a:p>
        <a:p>
          <a:pPr marL="114300" lvl="1" indent="0" defTabSz="622300" rtl="1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endParaRPr lang="fr-FR" sz="1600" dirty="0"/>
        </a:p>
      </dgm:t>
    </dgm:pt>
    <dgm:pt modelId="{4D876835-A5DB-436B-846D-C16080EF33CD}" type="parTrans" cxnId="{D4EA6E4E-C3F1-411A-81C3-288BA0070434}">
      <dgm:prSet/>
      <dgm:spPr/>
      <dgm:t>
        <a:bodyPr/>
        <a:lstStyle/>
        <a:p>
          <a:endParaRPr lang="fr-FR"/>
        </a:p>
      </dgm:t>
    </dgm:pt>
    <dgm:pt modelId="{DE04AD90-E4B3-4D26-966C-F58BC7BB75CE}" type="sibTrans" cxnId="{D4EA6E4E-C3F1-411A-81C3-288BA0070434}">
      <dgm:prSet/>
      <dgm:spPr/>
      <dgm:t>
        <a:bodyPr/>
        <a:lstStyle/>
        <a:p>
          <a:endParaRPr lang="fr-FR"/>
        </a:p>
      </dgm:t>
    </dgm:pt>
    <dgm:pt modelId="{CCE232EF-B27D-4FA2-8A4D-C776D1DB39D5}">
      <dgm:prSet custT="1"/>
      <dgm:spPr>
        <a:solidFill>
          <a:schemeClr val="accent1">
            <a:lumMod val="20000"/>
            <a:lumOff val="80000"/>
            <a:alpha val="90000"/>
          </a:schemeClr>
        </a:solidFill>
      </dgm:spPr>
      <dgm:t>
        <a:bodyPr/>
        <a:lstStyle/>
        <a:p>
          <a:pPr rtl="1"/>
          <a:r>
            <a:rPr lang="ar-MA" sz="1800" dirty="0"/>
            <a:t>الاستثمار في التقنيات الجديدة للتحول الرقمي لترشيد النفقات </a:t>
          </a:r>
          <a:r>
            <a:rPr lang="ar-MA" sz="1800" dirty="0" err="1"/>
            <a:t>اللوجستيكية</a:t>
          </a:r>
          <a:r>
            <a:rPr lang="ar-MA" sz="1800" dirty="0"/>
            <a:t> في مجال التكوين </a:t>
          </a:r>
          <a:endParaRPr lang="fr-FR" sz="1800" dirty="0"/>
        </a:p>
      </dgm:t>
    </dgm:pt>
    <dgm:pt modelId="{4FBE9D5B-F4AD-4BB5-B426-F72161C5C212}" type="parTrans" cxnId="{56B7C856-9BCF-46E3-AE68-5FE37E6AA219}">
      <dgm:prSet/>
      <dgm:spPr/>
      <dgm:t>
        <a:bodyPr/>
        <a:lstStyle/>
        <a:p>
          <a:endParaRPr lang="fr-FR"/>
        </a:p>
      </dgm:t>
    </dgm:pt>
    <dgm:pt modelId="{61D18416-EC2C-428B-A5C6-D527AEB12E51}" type="sibTrans" cxnId="{56B7C856-9BCF-46E3-AE68-5FE37E6AA219}">
      <dgm:prSet/>
      <dgm:spPr/>
      <dgm:t>
        <a:bodyPr/>
        <a:lstStyle/>
        <a:p>
          <a:endParaRPr lang="fr-FR"/>
        </a:p>
      </dgm:t>
    </dgm:pt>
    <dgm:pt modelId="{FBBFA70A-7ED4-46D6-884C-DA705F094EAB}" type="pres">
      <dgm:prSet presAssocID="{6A5D966C-4293-43E3-AE01-8A45A48D14EB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826398E2-6323-4ED0-ADD6-292E36F2CC64}" type="pres">
      <dgm:prSet presAssocID="{121C9DD7-41B8-4D11-ACA1-C52DE9730695}" presName="composite" presStyleCnt="0"/>
      <dgm:spPr/>
    </dgm:pt>
    <dgm:pt modelId="{14704AD7-67E1-47DE-BDD5-CB9780880926}" type="pres">
      <dgm:prSet presAssocID="{121C9DD7-41B8-4D11-ACA1-C52DE9730695}" presName="parentText" presStyleLbl="align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CB6CC97E-9D36-4062-B79A-8E187B7D2AE3}" type="pres">
      <dgm:prSet presAssocID="{121C9DD7-41B8-4D11-ACA1-C52DE9730695}" presName="descendantText" presStyleLbl="alignAcc1" presStyleIdx="0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C9CCC6C7-28AB-419C-8107-B75661E36E04}" type="pres">
      <dgm:prSet presAssocID="{0C3989B3-5608-4879-8871-432425CDCDFE}" presName="sp" presStyleCnt="0"/>
      <dgm:spPr/>
    </dgm:pt>
    <dgm:pt modelId="{6F149784-C4AE-42C4-A6C6-A1ABBEC46739}" type="pres">
      <dgm:prSet presAssocID="{3E016D0E-5D49-4998-838A-F09D58D40D56}" presName="composite" presStyleCnt="0"/>
      <dgm:spPr/>
    </dgm:pt>
    <dgm:pt modelId="{28F88526-3DE1-4011-82EA-3FA7FD75F1AA}" type="pres">
      <dgm:prSet presAssocID="{3E016D0E-5D49-4998-838A-F09D58D40D56}" presName="parentText" presStyleLbl="align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B864CC2C-D503-40D1-873B-94045EB1ED48}" type="pres">
      <dgm:prSet presAssocID="{3E016D0E-5D49-4998-838A-F09D58D40D56}" presName="descendantText" presStyleLbl="alignAcc1" presStyleIdx="1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43C21290-567E-412B-A981-59044452AD51}" type="pres">
      <dgm:prSet presAssocID="{77D12610-CBA9-433F-AF36-41A03AA92498}" presName="sp" presStyleCnt="0"/>
      <dgm:spPr/>
    </dgm:pt>
    <dgm:pt modelId="{597F5FAE-C30D-4982-8D11-6F021B4B035A}" type="pres">
      <dgm:prSet presAssocID="{CD0C5BC5-0092-45AA-A13A-257808A772C7}" presName="composite" presStyleCnt="0"/>
      <dgm:spPr/>
    </dgm:pt>
    <dgm:pt modelId="{5B38BB1C-F06F-4794-A2FE-098295BAA3AD}" type="pres">
      <dgm:prSet presAssocID="{CD0C5BC5-0092-45AA-A13A-257808A772C7}" presName="parentText" presStyleLbl="align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B095A87-85F5-4DBC-8406-DCF920908196}" type="pres">
      <dgm:prSet presAssocID="{CD0C5BC5-0092-45AA-A13A-257808A772C7}" presName="descendantText" presStyleLbl="alignAcc1" presStyleIdx="2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BC72943E-7081-4B1A-9374-38530EB3E672}" type="pres">
      <dgm:prSet presAssocID="{F2811283-6AFB-4313-A131-1D189ED76904}" presName="sp" presStyleCnt="0"/>
      <dgm:spPr/>
    </dgm:pt>
    <dgm:pt modelId="{96333C90-F814-4371-BB66-5F7EBA057936}" type="pres">
      <dgm:prSet presAssocID="{B9BACC1E-70D0-4621-B093-059E429449D4}" presName="composite" presStyleCnt="0"/>
      <dgm:spPr/>
    </dgm:pt>
    <dgm:pt modelId="{90B8815D-A675-4E82-ABC8-F9F79B72E11A}" type="pres">
      <dgm:prSet presAssocID="{B9BACC1E-70D0-4621-B093-059E429449D4}" presName="parentText" presStyleLbl="align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58121E66-F810-4E05-8126-6C31FADB606F}" type="pres">
      <dgm:prSet presAssocID="{B9BACC1E-70D0-4621-B093-059E429449D4}" presName="descendantText" presStyleLbl="alignAcc1" presStyleIdx="3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3FFB2497-B24D-4B68-9FDD-D6939BB10892}" srcId="{B9BACC1E-70D0-4621-B093-059E429449D4}" destId="{DEE96BCB-91FA-4188-8BE1-21A1D294D094}" srcOrd="0" destOrd="0" parTransId="{5FC6160D-60DC-44C5-80BB-703B357E98D2}" sibTransId="{5BBD565E-2A81-42F5-9FE3-2621D8593471}"/>
    <dgm:cxn modelId="{EC8073E2-F5AC-4670-826B-651E47EEF8F4}" type="presOf" srcId="{6A5D966C-4293-43E3-AE01-8A45A48D14EB}" destId="{FBBFA70A-7ED4-46D6-884C-DA705F094EAB}" srcOrd="0" destOrd="0" presId="urn:microsoft.com/office/officeart/2005/8/layout/chevron2"/>
    <dgm:cxn modelId="{788DEC50-865B-4585-894A-25F5EF991933}" type="presOf" srcId="{3E016D0E-5D49-4998-838A-F09D58D40D56}" destId="{28F88526-3DE1-4011-82EA-3FA7FD75F1AA}" srcOrd="0" destOrd="0" presId="urn:microsoft.com/office/officeart/2005/8/layout/chevron2"/>
    <dgm:cxn modelId="{3802AC95-5283-408B-8C71-564A37B620AC}" type="presOf" srcId="{83B36DA9-05CF-4E86-B8D7-1C7A24B43CEC}" destId="{58121E66-F810-4E05-8126-6C31FADB606F}" srcOrd="0" destOrd="2" presId="urn:microsoft.com/office/officeart/2005/8/layout/chevron2"/>
    <dgm:cxn modelId="{9B12C51D-141A-46AB-AE86-A41F71AAF44E}" srcId="{121C9DD7-41B8-4D11-ACA1-C52DE9730695}" destId="{544382E4-1208-42C1-BFD6-5CE43719CC84}" srcOrd="0" destOrd="0" parTransId="{091A51F1-85AC-48F3-A581-49A2ABF41721}" sibTransId="{BDC07EF5-DA34-4E96-961C-5726B545480C}"/>
    <dgm:cxn modelId="{EC755DD9-D106-4576-9865-3451FFCE52D6}" srcId="{6A5D966C-4293-43E3-AE01-8A45A48D14EB}" destId="{121C9DD7-41B8-4D11-ACA1-C52DE9730695}" srcOrd="0" destOrd="0" parTransId="{00951EB5-2846-4F2F-8809-264A3EAE6240}" sibTransId="{0C3989B3-5608-4879-8871-432425CDCDFE}"/>
    <dgm:cxn modelId="{F53E6F57-81AE-41D4-944A-9AF3F0DDAD0A}" type="presOf" srcId="{5554F8CE-6C95-41A3-B1E2-B91A0F7AACDB}" destId="{CB6CC97E-9D36-4062-B79A-8E187B7D2AE3}" srcOrd="0" destOrd="1" presId="urn:microsoft.com/office/officeart/2005/8/layout/chevron2"/>
    <dgm:cxn modelId="{F16FE39A-19A3-4F42-8678-E5C8525F7C1B}" srcId="{6A5D966C-4293-43E3-AE01-8A45A48D14EB}" destId="{3E016D0E-5D49-4998-838A-F09D58D40D56}" srcOrd="1" destOrd="0" parTransId="{7271A087-9AF9-48EB-873F-40D35D43CB4C}" sibTransId="{77D12610-CBA9-433F-AF36-41A03AA92498}"/>
    <dgm:cxn modelId="{56B7C856-9BCF-46E3-AE68-5FE37E6AA219}" srcId="{B9BACC1E-70D0-4621-B093-059E429449D4}" destId="{CCE232EF-B27D-4FA2-8A4D-C776D1DB39D5}" srcOrd="1" destOrd="0" parTransId="{4FBE9D5B-F4AD-4BB5-B426-F72161C5C212}" sibTransId="{61D18416-EC2C-428B-A5C6-D527AEB12E51}"/>
    <dgm:cxn modelId="{4872AC6D-9D2D-4E5C-9747-06E977537DE0}" srcId="{3E016D0E-5D49-4998-838A-F09D58D40D56}" destId="{FAA3393E-7217-4D91-82E1-72D3652BAEC5}" srcOrd="1" destOrd="0" parTransId="{7591955C-EDEA-4420-921A-7E70AEF2BFC8}" sibTransId="{B7D3A1E3-4967-4A13-B76E-D50E103D3C4C}"/>
    <dgm:cxn modelId="{9E267305-D36A-40FB-ADC4-D78A4D8BE668}" type="presOf" srcId="{121C9DD7-41B8-4D11-ACA1-C52DE9730695}" destId="{14704AD7-67E1-47DE-BDD5-CB9780880926}" srcOrd="0" destOrd="0" presId="urn:microsoft.com/office/officeart/2005/8/layout/chevron2"/>
    <dgm:cxn modelId="{6319B6A0-193E-446B-8539-5D42E6BEB0AC}" type="presOf" srcId="{DEE96BCB-91FA-4188-8BE1-21A1D294D094}" destId="{58121E66-F810-4E05-8126-6C31FADB606F}" srcOrd="0" destOrd="0" presId="urn:microsoft.com/office/officeart/2005/8/layout/chevron2"/>
    <dgm:cxn modelId="{F47DE361-2CF7-486F-B083-CBE26DF97848}" type="presOf" srcId="{FAA3393E-7217-4D91-82E1-72D3652BAEC5}" destId="{B864CC2C-D503-40D1-873B-94045EB1ED48}" srcOrd="0" destOrd="1" presId="urn:microsoft.com/office/officeart/2005/8/layout/chevron2"/>
    <dgm:cxn modelId="{5D03DC09-F728-49F7-A49A-8B436CE1073A}" type="presOf" srcId="{CD0C5BC5-0092-45AA-A13A-257808A772C7}" destId="{5B38BB1C-F06F-4794-A2FE-098295BAA3AD}" srcOrd="0" destOrd="0" presId="urn:microsoft.com/office/officeart/2005/8/layout/chevron2"/>
    <dgm:cxn modelId="{49F9BD40-AAC0-4075-BEEB-C792E37F1AB8}" srcId="{121C9DD7-41B8-4D11-ACA1-C52DE9730695}" destId="{5554F8CE-6C95-41A3-B1E2-B91A0F7AACDB}" srcOrd="1" destOrd="0" parTransId="{210F3F7E-BD69-4A3B-851E-67E092C3DA6A}" sibTransId="{343D1222-5D6C-4E41-9011-66125E34F43B}"/>
    <dgm:cxn modelId="{B0ED04A5-3CB8-45D5-B0D2-55E1A78943CA}" srcId="{3E016D0E-5D49-4998-838A-F09D58D40D56}" destId="{625ABF29-C62F-4DB5-9314-1BB21747739D}" srcOrd="0" destOrd="0" parTransId="{CF6D8B43-E589-40E7-A4C8-3BBB0C71FFAA}" sibTransId="{E7DE2262-AC5B-439D-A3F8-FBC743C6C11F}"/>
    <dgm:cxn modelId="{AC26CE31-8D7E-4BC8-9D05-D0E7489A6C67}" type="presOf" srcId="{B9BACC1E-70D0-4621-B093-059E429449D4}" destId="{90B8815D-A675-4E82-ABC8-F9F79B72E11A}" srcOrd="0" destOrd="0" presId="urn:microsoft.com/office/officeart/2005/8/layout/chevron2"/>
    <dgm:cxn modelId="{C9F602C6-BDC5-4C95-8A04-9C4EFEB98124}" type="presOf" srcId="{544382E4-1208-42C1-BFD6-5CE43719CC84}" destId="{CB6CC97E-9D36-4062-B79A-8E187B7D2AE3}" srcOrd="0" destOrd="0" presId="urn:microsoft.com/office/officeart/2005/8/layout/chevron2"/>
    <dgm:cxn modelId="{8F780B4D-F0C6-4234-861B-1B6A85D74D25}" type="presOf" srcId="{B4C9E2AC-89BA-4A5C-A0A1-59D5271F5227}" destId="{58121E66-F810-4E05-8126-6C31FADB606F}" srcOrd="0" destOrd="3" presId="urn:microsoft.com/office/officeart/2005/8/layout/chevron2"/>
    <dgm:cxn modelId="{0C69A52A-860F-41DC-8DF3-221A00525145}" srcId="{6A5D966C-4293-43E3-AE01-8A45A48D14EB}" destId="{B9BACC1E-70D0-4621-B093-059E429449D4}" srcOrd="3" destOrd="0" parTransId="{02B042E2-FDD8-400B-81B1-DE16F7587DD5}" sibTransId="{18659909-6335-4242-8B75-491F07D70EDB}"/>
    <dgm:cxn modelId="{D4EA6E4E-C3F1-411A-81C3-288BA0070434}" srcId="{CD0C5BC5-0092-45AA-A13A-257808A772C7}" destId="{C4DD55C6-BBD7-4B91-93C0-CCD031AC5369}" srcOrd="0" destOrd="0" parTransId="{4D876835-A5DB-436B-846D-C16080EF33CD}" sibTransId="{DE04AD90-E4B3-4D26-966C-F58BC7BB75CE}"/>
    <dgm:cxn modelId="{45E0AD9C-EA23-4F3D-A1BA-DE382AF51932}" type="presOf" srcId="{625ABF29-C62F-4DB5-9314-1BB21747739D}" destId="{B864CC2C-D503-40D1-873B-94045EB1ED48}" srcOrd="0" destOrd="0" presId="urn:microsoft.com/office/officeart/2005/8/layout/chevron2"/>
    <dgm:cxn modelId="{3A05D980-0013-4A1A-8C91-3661D0BB2DF9}" srcId="{B9BACC1E-70D0-4621-B093-059E429449D4}" destId="{83B36DA9-05CF-4E86-B8D7-1C7A24B43CEC}" srcOrd="2" destOrd="0" parTransId="{7905A86F-9617-4296-80B7-FEB2B4A7C070}" sibTransId="{D6E8E6A0-4213-4040-8D84-00F0A4CC376F}"/>
    <dgm:cxn modelId="{D015F198-8E81-4ADD-A1BF-AB0A1D96F734}" type="presOf" srcId="{CCE232EF-B27D-4FA2-8A4D-C776D1DB39D5}" destId="{58121E66-F810-4E05-8126-6C31FADB606F}" srcOrd="0" destOrd="1" presId="urn:microsoft.com/office/officeart/2005/8/layout/chevron2"/>
    <dgm:cxn modelId="{61CB0478-A955-4159-8F9A-DF1F3F99108D}" srcId="{6A5D966C-4293-43E3-AE01-8A45A48D14EB}" destId="{CD0C5BC5-0092-45AA-A13A-257808A772C7}" srcOrd="2" destOrd="0" parTransId="{3DAD2957-6530-4277-A6E5-7F99073E0F4D}" sibTransId="{F2811283-6AFB-4313-A131-1D189ED76904}"/>
    <dgm:cxn modelId="{0FB7FB8A-EB6D-4EB7-A149-DC43ABF06827}" type="presOf" srcId="{C4DD55C6-BBD7-4B91-93C0-CCD031AC5369}" destId="{FB095A87-85F5-4DBC-8406-DCF920908196}" srcOrd="0" destOrd="0" presId="urn:microsoft.com/office/officeart/2005/8/layout/chevron2"/>
    <dgm:cxn modelId="{9A1CC108-7D87-425D-BBCC-51AB7EFFC42B}" srcId="{B9BACC1E-70D0-4621-B093-059E429449D4}" destId="{B4C9E2AC-89BA-4A5C-A0A1-59D5271F5227}" srcOrd="3" destOrd="0" parTransId="{E3F80775-1DD3-473C-8D95-36F2AB216F57}" sibTransId="{ACB4AA67-2728-4B63-9CFB-8928FFDAC3F8}"/>
    <dgm:cxn modelId="{2817C1D2-939C-44F4-A3EB-5A4D21C38710}" type="presParOf" srcId="{FBBFA70A-7ED4-46D6-884C-DA705F094EAB}" destId="{826398E2-6323-4ED0-ADD6-292E36F2CC64}" srcOrd="0" destOrd="0" presId="urn:microsoft.com/office/officeart/2005/8/layout/chevron2"/>
    <dgm:cxn modelId="{4B670E58-57DD-41AD-8015-5AC9D7331778}" type="presParOf" srcId="{826398E2-6323-4ED0-ADD6-292E36F2CC64}" destId="{14704AD7-67E1-47DE-BDD5-CB9780880926}" srcOrd="0" destOrd="0" presId="urn:microsoft.com/office/officeart/2005/8/layout/chevron2"/>
    <dgm:cxn modelId="{807E0D45-FFE8-47F8-962E-77A17086CCC6}" type="presParOf" srcId="{826398E2-6323-4ED0-ADD6-292E36F2CC64}" destId="{CB6CC97E-9D36-4062-B79A-8E187B7D2AE3}" srcOrd="1" destOrd="0" presId="urn:microsoft.com/office/officeart/2005/8/layout/chevron2"/>
    <dgm:cxn modelId="{7428F3AD-7700-487D-9C4D-C297161F1F9B}" type="presParOf" srcId="{FBBFA70A-7ED4-46D6-884C-DA705F094EAB}" destId="{C9CCC6C7-28AB-419C-8107-B75661E36E04}" srcOrd="1" destOrd="0" presId="urn:microsoft.com/office/officeart/2005/8/layout/chevron2"/>
    <dgm:cxn modelId="{E354BA43-7D73-46D0-8B33-50A7178DE2DB}" type="presParOf" srcId="{FBBFA70A-7ED4-46D6-884C-DA705F094EAB}" destId="{6F149784-C4AE-42C4-A6C6-A1ABBEC46739}" srcOrd="2" destOrd="0" presId="urn:microsoft.com/office/officeart/2005/8/layout/chevron2"/>
    <dgm:cxn modelId="{DCE9A013-716A-437C-9E89-CDFA9C085808}" type="presParOf" srcId="{6F149784-C4AE-42C4-A6C6-A1ABBEC46739}" destId="{28F88526-3DE1-4011-82EA-3FA7FD75F1AA}" srcOrd="0" destOrd="0" presId="urn:microsoft.com/office/officeart/2005/8/layout/chevron2"/>
    <dgm:cxn modelId="{CA9176E3-4341-4065-91C9-750BDDFC1248}" type="presParOf" srcId="{6F149784-C4AE-42C4-A6C6-A1ABBEC46739}" destId="{B864CC2C-D503-40D1-873B-94045EB1ED48}" srcOrd="1" destOrd="0" presId="urn:microsoft.com/office/officeart/2005/8/layout/chevron2"/>
    <dgm:cxn modelId="{3EAA1096-818C-43EE-90CE-D32A18FBF372}" type="presParOf" srcId="{FBBFA70A-7ED4-46D6-884C-DA705F094EAB}" destId="{43C21290-567E-412B-A981-59044452AD51}" srcOrd="3" destOrd="0" presId="urn:microsoft.com/office/officeart/2005/8/layout/chevron2"/>
    <dgm:cxn modelId="{71D1515F-86FB-4EB8-8AF2-783677ABE69A}" type="presParOf" srcId="{FBBFA70A-7ED4-46D6-884C-DA705F094EAB}" destId="{597F5FAE-C30D-4982-8D11-6F021B4B035A}" srcOrd="4" destOrd="0" presId="urn:microsoft.com/office/officeart/2005/8/layout/chevron2"/>
    <dgm:cxn modelId="{CF40FD88-1872-4355-A8DA-A1E5058D5582}" type="presParOf" srcId="{597F5FAE-C30D-4982-8D11-6F021B4B035A}" destId="{5B38BB1C-F06F-4794-A2FE-098295BAA3AD}" srcOrd="0" destOrd="0" presId="urn:microsoft.com/office/officeart/2005/8/layout/chevron2"/>
    <dgm:cxn modelId="{4FBFB46E-E318-4939-B28C-77CDE12BD521}" type="presParOf" srcId="{597F5FAE-C30D-4982-8D11-6F021B4B035A}" destId="{FB095A87-85F5-4DBC-8406-DCF920908196}" srcOrd="1" destOrd="0" presId="urn:microsoft.com/office/officeart/2005/8/layout/chevron2"/>
    <dgm:cxn modelId="{D053943D-D380-4CC4-A767-8F70E36CB9DE}" type="presParOf" srcId="{FBBFA70A-7ED4-46D6-884C-DA705F094EAB}" destId="{BC72943E-7081-4B1A-9374-38530EB3E672}" srcOrd="5" destOrd="0" presId="urn:microsoft.com/office/officeart/2005/8/layout/chevron2"/>
    <dgm:cxn modelId="{33ED3CDD-AEE8-40E2-8718-1A79B43041F8}" type="presParOf" srcId="{FBBFA70A-7ED4-46D6-884C-DA705F094EAB}" destId="{96333C90-F814-4371-BB66-5F7EBA057936}" srcOrd="6" destOrd="0" presId="urn:microsoft.com/office/officeart/2005/8/layout/chevron2"/>
    <dgm:cxn modelId="{C1BB4201-8665-4FDF-AB6F-2970117F1482}" type="presParOf" srcId="{96333C90-F814-4371-BB66-5F7EBA057936}" destId="{90B8815D-A675-4E82-ABC8-F9F79B72E11A}" srcOrd="0" destOrd="0" presId="urn:microsoft.com/office/officeart/2005/8/layout/chevron2"/>
    <dgm:cxn modelId="{E212C047-4C05-497C-ADC6-544E1374B4F1}" type="presParOf" srcId="{96333C90-F814-4371-BB66-5F7EBA057936}" destId="{58121E66-F810-4E05-8126-6C31FADB606F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4704AD7-67E1-47DE-BDD5-CB9780880926}">
      <dsp:nvSpPr>
        <dsp:cNvPr id="0" name=""/>
        <dsp:cNvSpPr/>
      </dsp:nvSpPr>
      <dsp:spPr>
        <a:xfrm rot="5400000">
          <a:off x="-181368" y="185132"/>
          <a:ext cx="1209121" cy="84638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2300" kern="1200"/>
        </a:p>
      </dsp:txBody>
      <dsp:txXfrm rot="-5400000">
        <a:off x="1" y="426957"/>
        <a:ext cx="846385" cy="362736"/>
      </dsp:txXfrm>
    </dsp:sp>
    <dsp:sp modelId="{CB6CC97E-9D36-4062-B79A-8E187B7D2AE3}">
      <dsp:nvSpPr>
        <dsp:cNvPr id="0" name=""/>
        <dsp:cNvSpPr/>
      </dsp:nvSpPr>
      <dsp:spPr>
        <a:xfrm rot="5400000">
          <a:off x="3332228" y="-2482078"/>
          <a:ext cx="785929" cy="5757614"/>
        </a:xfrm>
        <a:prstGeom prst="round2SameRect">
          <a:avLst/>
        </a:prstGeom>
        <a:solidFill>
          <a:schemeClr val="accent1">
            <a:lumMod val="20000"/>
            <a:lumOff val="80000"/>
            <a:alpha val="9000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r" defTabSz="800100" rtl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ar-MA" sz="1800" b="0" i="0" kern="1200" baseline="0" dirty="0">
              <a:solidFill>
                <a:schemeClr val="tx1"/>
              </a:solidFill>
              <a:latin typeface="Calibri" pitchFamily="34" charset="0"/>
              <a:cs typeface="Calibri" pitchFamily="34" charset="0"/>
            </a:rPr>
            <a:t>وضع رهن إشارة الجم</a:t>
          </a:r>
          <a:r>
            <a:rPr lang="ar-MA" sz="1800" b="0" kern="1200" dirty="0">
              <a:solidFill>
                <a:schemeClr val="tx1"/>
              </a:solidFill>
              <a:latin typeface="Calibri" pitchFamily="34" charset="0"/>
              <a:cs typeface="Calibri" pitchFamily="34" charset="0"/>
            </a:rPr>
            <a:t>ا</a:t>
          </a:r>
          <a:r>
            <a:rPr lang="ar-MA" sz="1800" b="0" i="0" kern="1200" baseline="0" dirty="0">
              <a:solidFill>
                <a:schemeClr val="tx1"/>
              </a:solidFill>
              <a:latin typeface="Calibri" pitchFamily="34" charset="0"/>
              <a:cs typeface="Calibri" pitchFamily="34" charset="0"/>
            </a:rPr>
            <a:t>عات الترابية عرض تكويني ملائم للحاجيات</a:t>
          </a:r>
          <a:r>
            <a:rPr lang="ar-MA" sz="1800" b="0" i="0" kern="1200" baseline="0" dirty="0">
              <a:solidFill>
                <a:schemeClr val="bg1"/>
              </a:solidFill>
              <a:latin typeface="Calibri" pitchFamily="34" charset="0"/>
              <a:cs typeface="Calibri" pitchFamily="34" charset="0"/>
            </a:rPr>
            <a:t> </a:t>
          </a:r>
          <a:r>
            <a:rPr lang="ar-MA" sz="1800" b="0" i="0" kern="1200" baseline="0" dirty="0">
              <a:solidFill>
                <a:srgbClr val="34486E"/>
              </a:solidFill>
              <a:latin typeface="Calibri" pitchFamily="34" charset="0"/>
              <a:cs typeface="Calibri" pitchFamily="34" charset="0"/>
            </a:rPr>
            <a:t>المهنية و للمسار الإداري</a:t>
          </a:r>
          <a:r>
            <a:rPr lang="ar-MA" sz="1800" b="0" i="0" kern="1200" dirty="0">
              <a:solidFill>
                <a:srgbClr val="34486E"/>
              </a:solidFill>
              <a:latin typeface="Calibri" pitchFamily="34" charset="0"/>
              <a:cs typeface="Calibri" pitchFamily="34" charset="0"/>
            </a:rPr>
            <a:t> للموظف الجماعي</a:t>
          </a:r>
          <a:endParaRPr lang="fr-FR" sz="18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fr-FR" sz="1600" kern="1200" dirty="0"/>
        </a:p>
      </dsp:txBody>
      <dsp:txXfrm rot="-5400000">
        <a:off x="846386" y="42130"/>
        <a:ext cx="5719248" cy="709197"/>
      </dsp:txXfrm>
    </dsp:sp>
    <dsp:sp modelId="{28F88526-3DE1-4011-82EA-3FA7FD75F1AA}">
      <dsp:nvSpPr>
        <dsp:cNvPr id="0" name=""/>
        <dsp:cNvSpPr/>
      </dsp:nvSpPr>
      <dsp:spPr>
        <a:xfrm rot="5400000">
          <a:off x="-181368" y="1247138"/>
          <a:ext cx="1209121" cy="84638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2800" kern="1200"/>
        </a:p>
      </dsp:txBody>
      <dsp:txXfrm rot="-5400000">
        <a:off x="1" y="1488963"/>
        <a:ext cx="846385" cy="362736"/>
      </dsp:txXfrm>
    </dsp:sp>
    <dsp:sp modelId="{B864CC2C-D503-40D1-873B-94045EB1ED48}">
      <dsp:nvSpPr>
        <dsp:cNvPr id="0" name=""/>
        <dsp:cNvSpPr/>
      </dsp:nvSpPr>
      <dsp:spPr>
        <a:xfrm rot="5400000">
          <a:off x="3332228" y="-1420073"/>
          <a:ext cx="785929" cy="5757614"/>
        </a:xfrm>
        <a:prstGeom prst="round2SameRect">
          <a:avLst/>
        </a:prstGeom>
        <a:solidFill>
          <a:schemeClr val="accent1">
            <a:lumMod val="20000"/>
            <a:lumOff val="80000"/>
            <a:alpha val="9000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r" defTabSz="800100" rtl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ar-MA" sz="1800" kern="1200" dirty="0"/>
            <a:t>الرفع من مستوى المجهود التكويني لمواجهة الرهانات الحالية</a:t>
          </a:r>
          <a:endParaRPr lang="fr-FR" sz="18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fr-FR" sz="1600" kern="1200" dirty="0"/>
        </a:p>
      </dsp:txBody>
      <dsp:txXfrm rot="-5400000">
        <a:off x="846386" y="1104135"/>
        <a:ext cx="5719248" cy="709197"/>
      </dsp:txXfrm>
    </dsp:sp>
    <dsp:sp modelId="{5B38BB1C-F06F-4794-A2FE-098295BAA3AD}">
      <dsp:nvSpPr>
        <dsp:cNvPr id="0" name=""/>
        <dsp:cNvSpPr/>
      </dsp:nvSpPr>
      <dsp:spPr>
        <a:xfrm rot="5400000">
          <a:off x="-181368" y="2309143"/>
          <a:ext cx="1209121" cy="84638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1400" kern="1200" dirty="0"/>
        </a:p>
      </dsp:txBody>
      <dsp:txXfrm rot="-5400000">
        <a:off x="1" y="2550968"/>
        <a:ext cx="846385" cy="362736"/>
      </dsp:txXfrm>
    </dsp:sp>
    <dsp:sp modelId="{FB095A87-85F5-4DBC-8406-DCF920908196}">
      <dsp:nvSpPr>
        <dsp:cNvPr id="0" name=""/>
        <dsp:cNvSpPr/>
      </dsp:nvSpPr>
      <dsp:spPr>
        <a:xfrm rot="5400000">
          <a:off x="3332228" y="-358067"/>
          <a:ext cx="785929" cy="5757614"/>
        </a:xfrm>
        <a:prstGeom prst="round2SameRect">
          <a:avLst/>
        </a:prstGeom>
        <a:solidFill>
          <a:schemeClr val="accent1">
            <a:lumMod val="20000"/>
            <a:lumOff val="80000"/>
            <a:alpha val="9000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0" marR="0" lvl="0" indent="0" algn="r" defTabSz="914400" rtl="1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Char char="••"/>
            <a:tabLst/>
            <a:defRPr/>
          </a:pPr>
          <a:r>
            <a:rPr lang="ar-MA" sz="1800" kern="1200" dirty="0"/>
            <a:t>وضع منظومة للهندسة التكوينية مرتبطة بتدبير توقعي للوظائف و الكفاءات </a:t>
          </a:r>
          <a:endParaRPr lang="fr-FR" sz="1800" kern="1200" dirty="0"/>
        </a:p>
        <a:p>
          <a:pPr marL="114300" lvl="1" indent="0" algn="r" defTabSz="622300" rtl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fr-FR" sz="1600" kern="1200" dirty="0"/>
        </a:p>
      </dsp:txBody>
      <dsp:txXfrm rot="-5400000">
        <a:off x="846386" y="2166141"/>
        <a:ext cx="5719248" cy="709197"/>
      </dsp:txXfrm>
    </dsp:sp>
    <dsp:sp modelId="{90B8815D-A675-4E82-ABC8-F9F79B72E11A}">
      <dsp:nvSpPr>
        <dsp:cNvPr id="0" name=""/>
        <dsp:cNvSpPr/>
      </dsp:nvSpPr>
      <dsp:spPr>
        <a:xfrm rot="5400000">
          <a:off x="-181368" y="3371149"/>
          <a:ext cx="1209121" cy="84638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1600" kern="1200" dirty="0"/>
        </a:p>
      </dsp:txBody>
      <dsp:txXfrm rot="-5400000">
        <a:off x="1" y="3612974"/>
        <a:ext cx="846385" cy="362736"/>
      </dsp:txXfrm>
    </dsp:sp>
    <dsp:sp modelId="{58121E66-F810-4E05-8126-6C31FADB606F}">
      <dsp:nvSpPr>
        <dsp:cNvPr id="0" name=""/>
        <dsp:cNvSpPr/>
      </dsp:nvSpPr>
      <dsp:spPr>
        <a:xfrm rot="5400000">
          <a:off x="3332228" y="703938"/>
          <a:ext cx="785929" cy="5757614"/>
        </a:xfrm>
        <a:prstGeom prst="round2SameRect">
          <a:avLst/>
        </a:prstGeom>
        <a:solidFill>
          <a:schemeClr val="accent1">
            <a:lumMod val="20000"/>
            <a:lumOff val="80000"/>
            <a:alpha val="9000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r" defTabSz="711200" rtl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fr-FR" sz="1600" kern="1200" dirty="0"/>
        </a:p>
        <a:p>
          <a:pPr marL="171450" lvl="1" indent="-171450" algn="r" defTabSz="800100" rtl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ar-MA" sz="1800" kern="1200" dirty="0"/>
            <a:t>الاستثمار في التقنيات الجديدة للتحول الرقمي لترشيد النفقات </a:t>
          </a:r>
          <a:r>
            <a:rPr lang="ar-MA" sz="1800" kern="1200" dirty="0" err="1"/>
            <a:t>اللوجستيكية</a:t>
          </a:r>
          <a:r>
            <a:rPr lang="ar-MA" sz="1800" kern="1200" dirty="0"/>
            <a:t> في مجال التكوين </a:t>
          </a:r>
          <a:endParaRPr lang="fr-FR" sz="1800" kern="1200" dirty="0"/>
        </a:p>
        <a:p>
          <a:pPr marL="171450" lvl="1" indent="-171450" algn="r" defTabSz="711200" rtl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fr-FR" sz="1600" kern="1200" dirty="0"/>
        </a:p>
        <a:p>
          <a:pPr marL="114300" lvl="1" indent="-114300" algn="r" defTabSz="622300" rtl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fr-FR" sz="1400" kern="1200" dirty="0"/>
        </a:p>
      </dsp:txBody>
      <dsp:txXfrm rot="-5400000">
        <a:off x="846386" y="3228146"/>
        <a:ext cx="5719248" cy="70919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980" cy="496969"/>
          </a:xfrm>
          <a:prstGeom prst="rect">
            <a:avLst/>
          </a:prstGeom>
        </p:spPr>
        <p:txBody>
          <a:bodyPr vert="horz" lIns="91915" tIns="45958" rIns="91915" bIns="45958" rtlCol="0"/>
          <a:lstStyle>
            <a:lvl1pPr algn="l">
              <a:defRPr sz="1200">
                <a:latin typeface="Calibri" pitchFamily="34" charset="0"/>
              </a:defRPr>
            </a:lvl1pPr>
          </a:lstStyle>
          <a:p>
            <a:endParaRPr lang="la-Latn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095" y="1"/>
            <a:ext cx="2945980" cy="496969"/>
          </a:xfrm>
          <a:prstGeom prst="rect">
            <a:avLst/>
          </a:prstGeom>
        </p:spPr>
        <p:txBody>
          <a:bodyPr vert="horz" lIns="91915" tIns="45958" rIns="91915" bIns="45958" rtlCol="0"/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85A04458-CC25-4EEB-B3AB-46128302C5CE}" type="datetimeFigureOut">
              <a:rPr lang="la-Latn" smtClean="0"/>
              <a:pPr/>
              <a:t>14/07/2022</a:t>
            </a:fld>
            <a:endParaRPr lang="la-Latn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2788" y="744538"/>
            <a:ext cx="5372100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915" tIns="45958" rIns="91915" bIns="45958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089" y="4714836"/>
            <a:ext cx="5437500" cy="4467943"/>
          </a:xfrm>
          <a:prstGeom prst="rect">
            <a:avLst/>
          </a:prstGeom>
        </p:spPr>
        <p:txBody>
          <a:bodyPr vert="horz" lIns="91915" tIns="45958" rIns="91915" bIns="45958" rtlCol="0"/>
          <a:lstStyle/>
          <a:p>
            <a:pPr lvl="0"/>
            <a:r>
              <a:rPr lang="la-Latn" dirty="0"/>
              <a:t>Click to edit Master text styles</a:t>
            </a:r>
          </a:p>
          <a:p>
            <a:pPr lvl="1"/>
            <a:r>
              <a:rPr lang="la-Latn" dirty="0"/>
              <a:t>Second level</a:t>
            </a:r>
          </a:p>
          <a:p>
            <a:pPr lvl="2"/>
            <a:r>
              <a:rPr lang="la-Latn" dirty="0"/>
              <a:t>Third level</a:t>
            </a:r>
          </a:p>
          <a:p>
            <a:pPr lvl="3"/>
            <a:r>
              <a:rPr lang="la-Latn" dirty="0"/>
              <a:t>Fourth level</a:t>
            </a:r>
          </a:p>
          <a:p>
            <a:pPr lvl="4"/>
            <a:r>
              <a:rPr lang="la-Latn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077"/>
            <a:ext cx="2945980" cy="496969"/>
          </a:xfrm>
          <a:prstGeom prst="rect">
            <a:avLst/>
          </a:prstGeom>
        </p:spPr>
        <p:txBody>
          <a:bodyPr vert="horz" lIns="91915" tIns="45958" rIns="91915" bIns="45958" rtlCol="0" anchor="b"/>
          <a:lstStyle>
            <a:lvl1pPr algn="l">
              <a:defRPr sz="1200">
                <a:latin typeface="Calibri" pitchFamily="34" charset="0"/>
              </a:defRPr>
            </a:lvl1pPr>
          </a:lstStyle>
          <a:p>
            <a:endParaRPr lang="la-Latn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095" y="9428077"/>
            <a:ext cx="2945980" cy="496969"/>
          </a:xfrm>
          <a:prstGeom prst="rect">
            <a:avLst/>
          </a:prstGeom>
        </p:spPr>
        <p:txBody>
          <a:bodyPr vert="horz" lIns="91915" tIns="45958" rIns="91915" bIns="45958" rtlCol="0" anchor="b"/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880AA4DC-8898-478F-911C-7DC9E80B9005}" type="slidenum">
              <a:rPr lang="la-Latn" smtClean="0"/>
              <a:pPr/>
              <a:t>‹N°›</a:t>
            </a:fld>
            <a:endParaRPr lang="la-Latn" dirty="0"/>
          </a:p>
        </p:txBody>
      </p:sp>
    </p:spTree>
    <p:extLst>
      <p:ext uri="{BB962C8B-B14F-4D97-AF65-F5344CB8AC3E}">
        <p14:creationId xmlns:p14="http://schemas.microsoft.com/office/powerpoint/2010/main" val="31542824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MA" sz="105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éunion d'examen de concept: 25/06/2015</a:t>
            </a:r>
            <a:r>
              <a:rPr lang="fr-MA" sz="1050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MA" sz="1050" b="1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uth</a:t>
            </a:r>
            <a:r>
              <a:rPr lang="fr-MA" sz="105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fr-MA" sz="1050" b="1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ppr</a:t>
            </a:r>
            <a:r>
              <a:rPr lang="fr-MA" sz="105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/ </a:t>
            </a:r>
            <a:r>
              <a:rPr lang="fr-MA" sz="1050" b="1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gs</a:t>
            </a:r>
            <a:r>
              <a:rPr lang="fr-MA" sz="105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en principe): 17 oct. 2017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MA" sz="1050" dirty="0"/>
              <a:t> </a:t>
            </a:r>
            <a:r>
              <a:rPr lang="fr-MA" sz="105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pprobation:13/12/2017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MA" sz="1050" dirty="0"/>
              <a:t> </a:t>
            </a:r>
            <a:r>
              <a:rPr lang="fr-MA" sz="105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gnature</a:t>
            </a:r>
            <a:r>
              <a:rPr lang="fr-MA" sz="1050" dirty="0"/>
              <a:t> : </a:t>
            </a:r>
            <a:r>
              <a:rPr lang="fr-MA" sz="105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1/12/2017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MA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e effective de mise en vigueur: 19/02/201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MA" sz="105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cienne date Clôture:30/09/2022</a:t>
            </a:r>
            <a:r>
              <a:rPr lang="fr-MA" sz="1050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MA" sz="105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ouvelle date de clôture: 31/03/2023</a:t>
            </a:r>
          </a:p>
          <a:p>
            <a:r>
              <a:rPr lang="fr-MA" sz="1050" dirty="0"/>
              <a:t>Ancienne </a:t>
            </a:r>
            <a:r>
              <a:rPr lang="fr-MA" sz="105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te limite des demandes</a:t>
            </a:r>
            <a:r>
              <a:rPr lang="fr-MA" sz="1050" dirty="0"/>
              <a:t> </a:t>
            </a:r>
            <a:r>
              <a:rPr lang="fr-MA" sz="105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1/03/2023</a:t>
            </a:r>
            <a:r>
              <a:rPr lang="fr-MA" sz="1050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MA" sz="1050" dirty="0"/>
              <a:t>Nouvelle </a:t>
            </a:r>
            <a:r>
              <a:rPr lang="fr-MA" sz="105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te limite des demandes</a:t>
            </a:r>
            <a:r>
              <a:rPr lang="fr-MA" sz="1050" dirty="0"/>
              <a:t> </a:t>
            </a:r>
            <a:r>
              <a:rPr lang="fr-MA" sz="105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1/09/2023</a:t>
            </a:r>
            <a:r>
              <a:rPr lang="fr-MA" sz="1050" dirty="0"/>
              <a:t> 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C2F930-0BF3-4E32-A6B1-C5DC5756830B}" type="slidenum">
              <a:rPr lang="fr-MA" smtClean="0"/>
              <a:t>2</a:t>
            </a:fld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27251976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MA" sz="105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C2F930-0BF3-4E32-A6B1-C5DC5756830B}" type="slidenum">
              <a:rPr lang="fr-MA" smtClean="0"/>
              <a:t>11</a:t>
            </a:fld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24226085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MA" sz="105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C2F930-0BF3-4E32-A6B1-C5DC5756830B}" type="slidenum">
              <a:rPr lang="fr-MA" smtClean="0"/>
              <a:t>12</a:t>
            </a:fld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81182674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MA" sz="105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éunion d'examen de concept: 25/06/2015</a:t>
            </a:r>
            <a:endParaRPr lang="fr-MA" sz="105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C2F930-0BF3-4E32-A6B1-C5DC5756830B}" type="slidenum">
              <a:rPr lang="fr-MA" smtClean="0"/>
              <a:t>13</a:t>
            </a:fld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96634077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MA" sz="105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éunion d'examen de concept: 25/06/2015</a:t>
            </a:r>
            <a:endParaRPr lang="fr-MA" sz="105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C2F930-0BF3-4E32-A6B1-C5DC5756830B}" type="slidenum">
              <a:rPr lang="fr-MA" smtClean="0"/>
              <a:t>14</a:t>
            </a:fld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278013597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MA" sz="105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C2F930-0BF3-4E32-A6B1-C5DC5756830B}" type="slidenum">
              <a:rPr lang="fr-MA" smtClean="0"/>
              <a:t>15</a:t>
            </a:fld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401263720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MA" sz="105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C2F930-0BF3-4E32-A6B1-C5DC5756830B}" type="slidenum">
              <a:rPr lang="fr-MA" smtClean="0"/>
              <a:t>16</a:t>
            </a:fld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74459919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MA" sz="105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C2F930-0BF3-4E32-A6B1-C5DC5756830B}" type="slidenum">
              <a:rPr lang="fr-MA" smtClean="0"/>
              <a:t>17</a:t>
            </a:fld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33057879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MA" sz="105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éunion d'examen de concept: 25/06/2015</a:t>
            </a:r>
            <a:r>
              <a:rPr lang="fr-MA" sz="1050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MA" sz="1050" b="1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uth</a:t>
            </a:r>
            <a:r>
              <a:rPr lang="fr-MA" sz="105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fr-MA" sz="1050" b="1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ppr</a:t>
            </a:r>
            <a:r>
              <a:rPr lang="fr-MA" sz="105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/ </a:t>
            </a:r>
            <a:r>
              <a:rPr lang="fr-MA" sz="1050" b="1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gs</a:t>
            </a:r>
            <a:r>
              <a:rPr lang="fr-MA" sz="105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en principe): 17 oct. 2017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MA" sz="1050" dirty="0"/>
              <a:t> </a:t>
            </a:r>
            <a:r>
              <a:rPr lang="fr-MA" sz="105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pprobation:13/12/2017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MA" sz="1050" dirty="0"/>
              <a:t> </a:t>
            </a:r>
            <a:r>
              <a:rPr lang="fr-MA" sz="105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gnature</a:t>
            </a:r>
            <a:r>
              <a:rPr lang="fr-MA" sz="1050" dirty="0"/>
              <a:t> : </a:t>
            </a:r>
            <a:r>
              <a:rPr lang="fr-MA" sz="105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1/12/2017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MA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e effective de mise en vigueur: 19/02/201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MA" sz="105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cienne date Clôture:30/09/2022</a:t>
            </a:r>
            <a:r>
              <a:rPr lang="fr-MA" sz="1050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MA" sz="105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ouvelle date de clôture: 31/03/2023</a:t>
            </a:r>
          </a:p>
          <a:p>
            <a:r>
              <a:rPr lang="fr-MA" sz="1050" dirty="0"/>
              <a:t>Ancienne </a:t>
            </a:r>
            <a:r>
              <a:rPr lang="fr-MA" sz="105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te limite des demandes</a:t>
            </a:r>
            <a:r>
              <a:rPr lang="fr-MA" sz="1050" dirty="0"/>
              <a:t> </a:t>
            </a:r>
            <a:r>
              <a:rPr lang="fr-MA" sz="105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1/03/2023</a:t>
            </a:r>
            <a:r>
              <a:rPr lang="fr-MA" sz="1050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MA" sz="1050" dirty="0"/>
              <a:t>Nouvelle </a:t>
            </a:r>
            <a:r>
              <a:rPr lang="fr-MA" sz="105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te limite des demandes</a:t>
            </a:r>
            <a:r>
              <a:rPr lang="fr-MA" sz="1050" dirty="0"/>
              <a:t> </a:t>
            </a:r>
            <a:r>
              <a:rPr lang="fr-MA" sz="105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1/09/2023</a:t>
            </a:r>
            <a:r>
              <a:rPr lang="fr-MA" sz="1050" dirty="0"/>
              <a:t> 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C2F930-0BF3-4E32-A6B1-C5DC5756830B}" type="slidenum">
              <a:rPr lang="fr-MA" smtClean="0"/>
              <a:t>3</a:t>
            </a:fld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9825065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MA" sz="105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C2F930-0BF3-4E32-A6B1-C5DC5756830B}" type="slidenum">
              <a:rPr lang="fr-MA" smtClean="0"/>
              <a:t>4</a:t>
            </a:fld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7496976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MA" sz="105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éunion d'examen de concept: 25/06/2015</a:t>
            </a:r>
            <a:endParaRPr lang="fr-MA" sz="105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C2F930-0BF3-4E32-A6B1-C5DC5756830B}" type="slidenum">
              <a:rPr lang="fr-MA" smtClean="0"/>
              <a:t>5</a:t>
            </a:fld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14760016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MA" sz="105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C2F930-0BF3-4E32-A6B1-C5DC5756830B}" type="slidenum">
              <a:rPr lang="fr-MA" smtClean="0"/>
              <a:t>6</a:t>
            </a:fld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31879522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MA" sz="105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C2F930-0BF3-4E32-A6B1-C5DC5756830B}" type="slidenum">
              <a:rPr lang="fr-MA" smtClean="0"/>
              <a:t>7</a:t>
            </a:fld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332002622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MA" sz="105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éunion d'examen de concept: 25/06/2015</a:t>
            </a:r>
            <a:endParaRPr lang="fr-MA" sz="105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C2F930-0BF3-4E32-A6B1-C5DC5756830B}" type="slidenum">
              <a:rPr lang="fr-MA" smtClean="0"/>
              <a:t>8</a:t>
            </a:fld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304409591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MA" sz="105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éunion d'examen de concept:</a:t>
            </a:r>
            <a:endParaRPr lang="fr-MA" sz="105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C2F930-0BF3-4E32-A6B1-C5DC5756830B}" type="slidenum">
              <a:rPr lang="fr-MA" smtClean="0"/>
              <a:t>9</a:t>
            </a:fld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1446017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MA" sz="105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éunion d'examen de concept: 25/06/2015</a:t>
            </a:r>
            <a:endParaRPr lang="fr-MA" sz="105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C2F930-0BF3-4E32-A6B1-C5DC5756830B}" type="slidenum">
              <a:rPr lang="fr-MA" smtClean="0"/>
              <a:t>10</a:t>
            </a:fld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30561734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image" Target="../media/image1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742950" y="2130425"/>
            <a:ext cx="8420100" cy="1470025"/>
          </a:xfrm>
          <a:prstGeom prst="rect">
            <a:avLst/>
          </a:prstGeom>
        </p:spPr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Cliquez pour modifier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fld id="{D89D20AE-2A9C-4742-990C-2A883C3683E3}" type="slidenum">
              <a:rPr lang="fr-FR" smtClean="0"/>
              <a:pPr/>
              <a:t>‹N°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BEC123-E55E-C24C-85DD-F7E6DAB2A107}" type="datetimeFigureOut">
              <a:rPr lang="fr-FR" smtClean="0"/>
              <a:pPr/>
              <a:t>14/07/2022</a:t>
            </a:fld>
            <a:endParaRPr lang="fr-F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887438-B11B-6146-AFC7-0CB1DF6A4B9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28569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BEC123-E55E-C24C-85DD-F7E6DAB2A107}" type="datetimeFigureOut">
              <a:rPr lang="fr-FR" smtClean="0"/>
              <a:pPr/>
              <a:t>14/07/2022</a:t>
            </a:fld>
            <a:endParaRPr lang="fr-F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887438-B11B-6146-AFC7-0CB1DF6A4B9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186946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6"/>
            <a:ext cx="5014913" cy="4873625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38"/>
            </a:lvl2pPr>
            <a:lvl3pPr marL="742950" indent="0">
              <a:buNone/>
              <a:defRPr sz="975"/>
            </a:lvl3pPr>
            <a:lvl4pPr marL="1114425" indent="0">
              <a:buNone/>
              <a:defRPr sz="813"/>
            </a:lvl4pPr>
            <a:lvl5pPr marL="1485900" indent="0">
              <a:buNone/>
              <a:defRPr sz="813"/>
            </a:lvl5pPr>
            <a:lvl6pPr marL="1857375" indent="0">
              <a:buNone/>
              <a:defRPr sz="813"/>
            </a:lvl6pPr>
            <a:lvl7pPr marL="2228850" indent="0">
              <a:buNone/>
              <a:defRPr sz="813"/>
            </a:lvl7pPr>
            <a:lvl8pPr marL="2600325" indent="0">
              <a:buNone/>
              <a:defRPr sz="813"/>
            </a:lvl8pPr>
            <a:lvl9pPr marL="2971800" indent="0">
              <a:buNone/>
              <a:defRPr sz="813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BEC123-E55E-C24C-85DD-F7E6DAB2A107}" type="datetimeFigureOut">
              <a:rPr lang="fr-FR" smtClean="0"/>
              <a:pPr/>
              <a:t>14/07/2022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887438-B11B-6146-AFC7-0CB1DF6A4B9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9388454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26"/>
            <a:ext cx="5014913" cy="4873625"/>
          </a:xfrm>
        </p:spPr>
        <p:txBody>
          <a:bodyPr anchor="t"/>
          <a:lstStyle>
            <a:lvl1pPr marL="0" indent="0">
              <a:buNone/>
              <a:defRPr sz="2600"/>
            </a:lvl1pPr>
            <a:lvl2pPr marL="371475" indent="0">
              <a:buNone/>
              <a:defRPr sz="2275"/>
            </a:lvl2pPr>
            <a:lvl3pPr marL="742950" indent="0">
              <a:buNone/>
              <a:defRPr sz="1950"/>
            </a:lvl3pPr>
            <a:lvl4pPr marL="1114425" indent="0">
              <a:buNone/>
              <a:defRPr sz="1625"/>
            </a:lvl4pPr>
            <a:lvl5pPr marL="1485900" indent="0">
              <a:buNone/>
              <a:defRPr sz="1625"/>
            </a:lvl5pPr>
            <a:lvl6pPr marL="1857375" indent="0">
              <a:buNone/>
              <a:defRPr sz="1625"/>
            </a:lvl6pPr>
            <a:lvl7pPr marL="2228850" indent="0">
              <a:buNone/>
              <a:defRPr sz="1625"/>
            </a:lvl7pPr>
            <a:lvl8pPr marL="2600325" indent="0">
              <a:buNone/>
              <a:defRPr sz="1625"/>
            </a:lvl8pPr>
            <a:lvl9pPr marL="2971800" indent="0">
              <a:buNone/>
              <a:defRPr sz="1625"/>
            </a:lvl9pPr>
          </a:lstStyle>
          <a:p>
            <a:r>
              <a:rPr lang="fr-FR"/>
              <a:t>Cliquez sur l'icône pour ajouter une imag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38"/>
            </a:lvl2pPr>
            <a:lvl3pPr marL="742950" indent="0">
              <a:buNone/>
              <a:defRPr sz="975"/>
            </a:lvl3pPr>
            <a:lvl4pPr marL="1114425" indent="0">
              <a:buNone/>
              <a:defRPr sz="813"/>
            </a:lvl4pPr>
            <a:lvl5pPr marL="1485900" indent="0">
              <a:buNone/>
              <a:defRPr sz="813"/>
            </a:lvl5pPr>
            <a:lvl6pPr marL="1857375" indent="0">
              <a:buNone/>
              <a:defRPr sz="813"/>
            </a:lvl6pPr>
            <a:lvl7pPr marL="2228850" indent="0">
              <a:buNone/>
              <a:defRPr sz="813"/>
            </a:lvl7pPr>
            <a:lvl8pPr marL="2600325" indent="0">
              <a:buNone/>
              <a:defRPr sz="813"/>
            </a:lvl8pPr>
            <a:lvl9pPr marL="2971800" indent="0">
              <a:buNone/>
              <a:defRPr sz="813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BEC123-E55E-C24C-85DD-F7E6DAB2A107}" type="datetimeFigureOut">
              <a:rPr lang="fr-FR" smtClean="0"/>
              <a:pPr/>
              <a:t>14/07/2022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887438-B11B-6146-AFC7-0CB1DF6A4B9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466823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BEC123-E55E-C24C-85DD-F7E6DAB2A107}" type="datetimeFigureOut">
              <a:rPr lang="fr-FR" smtClean="0"/>
              <a:pPr/>
              <a:t>14/07/2022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887438-B11B-6146-AFC7-0CB1DF6A4B9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4033077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1" y="365125"/>
            <a:ext cx="2135981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7" y="365125"/>
            <a:ext cx="6284119" cy="5811838"/>
          </a:xfrm>
        </p:spPr>
        <p:txBody>
          <a:bodyPr vert="eaVert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BEC123-E55E-C24C-85DD-F7E6DAB2A107}" type="datetimeFigureOut">
              <a:rPr lang="fr-FR" smtClean="0"/>
              <a:pPr/>
              <a:t>14/07/2022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887438-B11B-6146-AFC7-0CB1DF6A4B9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593938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" hidden="1"/>
          <p:cNvSpPr>
            <a:spLocks noGrp="1"/>
          </p:cNvSpPr>
          <p:nvPr>
            <p:ph type="sldNum" sz="quarter" idx="11"/>
            <p:custDataLst>
              <p:tags r:id="rId1"/>
            </p:custDataLst>
          </p:nvPr>
        </p:nvSpPr>
        <p:spPr>
          <a:xfrm>
            <a:off x="9972000" y="178643"/>
            <a:ext cx="40076" cy="3077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00" b="0">
                <a:solidFill>
                  <a:schemeClr val="bg1">
                    <a:lumMod val="75000"/>
                  </a:schemeClr>
                </a:solidFill>
                <a:latin typeface="Calibri" pitchFamily="34" charset="0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la-Latn" smtClean="0">
                <a:solidFill>
                  <a:prstClr val="white">
                    <a:lumMod val="75000"/>
                  </a:prstClr>
                </a:solidFill>
              </a:rPr>
              <a:pPr/>
              <a:t>‹N°›</a:t>
            </a:fld>
            <a:endParaRPr lang="la-Latn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15" name="Footer Placeholder" hidden="1"/>
          <p:cNvSpPr>
            <a:spLocks noGrp="1"/>
          </p:cNvSpPr>
          <p:nvPr>
            <p:ph type="ftr" sz="quarter" idx="10"/>
            <p:custDataLst>
              <p:tags r:id="rId2"/>
            </p:custDataLst>
          </p:nvPr>
        </p:nvSpPr>
        <p:spPr>
          <a:xfrm>
            <a:off x="9972004" y="228649"/>
            <a:ext cx="65" cy="3077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00" b="0" kern="1200" smtClean="0">
                <a:solidFill>
                  <a:schemeClr val="bg1">
                    <a:lumMod val="75000"/>
                  </a:schemeClr>
                </a:solidFill>
                <a:latin typeface="Calibri" pitchFamily="34" charset="0"/>
                <a:ea typeface="+mn-ea"/>
                <a:cs typeface="+mn-cs"/>
                <a:sym typeface="+mn-lt"/>
              </a:defRPr>
            </a:lvl1pPr>
          </a:lstStyle>
          <a:p>
            <a:endParaRPr lang="la-Latn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13" name="Text Box 9">
            <a:extLst>
              <a:ext uri="{FF2B5EF4-FFF2-40B4-BE49-F238E27FC236}">
                <a16:creationId xmlns:a16="http://schemas.microsoft.com/office/drawing/2014/main" id="{1335D415-01AA-45C9-BC5E-DC283E4F825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45425" y="8296"/>
            <a:ext cx="4536000" cy="50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7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ROYAUME DU MAROC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7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Ministère de l’Intérieur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7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Direction Générale des Collectivités Territoriales</a:t>
            </a:r>
          </a:p>
        </p:txBody>
      </p:sp>
      <p:pic>
        <p:nvPicPr>
          <p:cNvPr id="16" name="Picture 56" descr="Image result for royaume du maroc">
            <a:extLst>
              <a:ext uri="{FF2B5EF4-FFF2-40B4-BE49-F238E27FC236}">
                <a16:creationId xmlns:a16="http://schemas.microsoft.com/office/drawing/2014/main" id="{234CA324-A139-4DBA-B44A-1562429923F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97" y="33716"/>
            <a:ext cx="360000" cy="392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"/>
          <p:cNvSpPr txBox="1">
            <a:spLocks noChangeArrowheads="1"/>
          </p:cNvSpPr>
          <p:nvPr userDrawn="1"/>
        </p:nvSpPr>
        <p:spPr bwMode="auto">
          <a:xfrm>
            <a:off x="9385300" y="6710400"/>
            <a:ext cx="189154" cy="12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>
              <a:lnSpc>
                <a:spcPct val="90000"/>
              </a:lnSpc>
              <a:defRPr/>
            </a:pPr>
            <a:fld id="{7AA7B471-74A3-4F5F-8955-6C99E2375CAC}" type="slidenum">
              <a:rPr lang="la-Latn" noProof="1">
                <a:solidFill>
                  <a:srgbClr val="242852"/>
                </a:solidFill>
                <a:latin typeface="Calibri" pitchFamily="34" charset="0"/>
                <a:cs typeface="Calibri" pitchFamily="34" charset="0"/>
                <a:sym typeface="+mn-lt"/>
              </a:rPr>
              <a:pPr>
                <a:lnSpc>
                  <a:spcPct val="90000"/>
                </a:lnSpc>
                <a:defRPr/>
              </a:pPr>
              <a:t>‹N°›</a:t>
            </a:fld>
            <a:endParaRPr lang="la-Latn" noProof="1">
              <a:solidFill>
                <a:srgbClr val="242852"/>
              </a:solidFill>
              <a:latin typeface="Calibri" pitchFamily="34" charset="0"/>
              <a:cs typeface="Calibri" pitchFamily="34" charset="0"/>
              <a:sym typeface="+mn-lt"/>
            </a:endParaRP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A8F67220-F4B1-4822-AB7E-0AF5997A27BE}"/>
              </a:ext>
            </a:extLst>
          </p:cNvPr>
          <p:cNvGrpSpPr/>
          <p:nvPr userDrawn="1"/>
        </p:nvGrpSpPr>
        <p:grpSpPr>
          <a:xfrm>
            <a:off x="8967140" y="67422"/>
            <a:ext cx="828000" cy="332795"/>
            <a:chOff x="3029770" y="5289957"/>
            <a:chExt cx="2279592" cy="1089603"/>
          </a:xfrm>
        </p:grpSpPr>
        <p:pic>
          <p:nvPicPr>
            <p:cNvPr id="11" name="Image 10">
              <a:extLst>
                <a:ext uri="{FF2B5EF4-FFF2-40B4-BE49-F238E27FC236}">
                  <a16:creationId xmlns:a16="http://schemas.microsoft.com/office/drawing/2014/main" id="{3148F305-774E-4BB5-B510-58214D597DF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29770" y="5289964"/>
              <a:ext cx="838442" cy="1089596"/>
            </a:xfrm>
            <a:prstGeom prst="rect">
              <a:avLst/>
            </a:prstGeom>
          </p:spPr>
        </p:pic>
        <p:pic>
          <p:nvPicPr>
            <p:cNvPr id="12" name="Picture 607" descr="RÃ©sultat de recherche d'images pour &quot;capital consulting GFI logo&quot;">
              <a:extLst>
                <a:ext uri="{FF2B5EF4-FFF2-40B4-BE49-F238E27FC236}">
                  <a16:creationId xmlns:a16="http://schemas.microsoft.com/office/drawing/2014/main" id="{E99178A4-5B76-47E0-B8C2-57AA055792B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48557" y="5289957"/>
              <a:ext cx="1060805" cy="10608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9185553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 avec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/>
          <p:cNvSpPr>
            <a:spLocks noGrp="1"/>
          </p:cNvSpPr>
          <p:nvPr>
            <p:ph type="body" sz="quarter" idx="10" hasCustomPrompt="1"/>
          </p:nvPr>
        </p:nvSpPr>
        <p:spPr>
          <a:xfrm>
            <a:off x="4421857" y="248552"/>
            <a:ext cx="4248000" cy="235320"/>
          </a:xfrm>
          <a:prstGeom prst="rect">
            <a:avLst/>
          </a:prstGeom>
        </p:spPr>
        <p:txBody>
          <a:bodyPr lIns="95882" tIns="47942" rIns="95882" bIns="47942"/>
          <a:lstStyle>
            <a:lvl1pPr marL="0" indent="0" algn="r">
              <a:buNone/>
              <a:defRPr sz="1000" b="0" i="1" baseline="0">
                <a:solidFill>
                  <a:schemeClr val="bg1">
                    <a:lumMod val="50000"/>
                  </a:schemeClr>
                </a:solidFill>
                <a:latin typeface="Calibri" pitchFamily="34" charset="0"/>
                <a:cs typeface="Calibri" pitchFamily="34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fr-FR" dirty="0"/>
              <a:t>Cliquez ici pour insérer le titre</a:t>
            </a: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1" hasCustomPrompt="1"/>
          </p:nvPr>
        </p:nvSpPr>
        <p:spPr>
          <a:xfrm>
            <a:off x="428633" y="688064"/>
            <a:ext cx="9170988" cy="720000"/>
          </a:xfrm>
          <a:prstGeom prst="rect">
            <a:avLst/>
          </a:prstGeom>
          <a:solidFill>
            <a:schemeClr val="bg1">
              <a:lumMod val="85000"/>
              <a:alpha val="51000"/>
            </a:schemeClr>
          </a:solidFill>
        </p:spPr>
        <p:txBody>
          <a:bodyPr vert="horz" wrap="square" lIns="108000" tIns="0" rIns="108000" bIns="0" rtlCol="0" anchor="ctr">
            <a:noAutofit/>
          </a:bodyPr>
          <a:lstStyle>
            <a:lvl1pPr marL="0" indent="0">
              <a:buNone/>
              <a:defRPr lang="fr-FR" sz="1800" b="1" i="0" kern="1200" baseline="0" dirty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  <a:sym typeface="+mn-lt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Wingdings" pitchFamily="2" charset="2"/>
              <a:buNone/>
            </a:pPr>
            <a:r>
              <a:rPr lang="fr-FR" dirty="0"/>
              <a:t>Cliquez ici pour insérer le message clé de la slide (2 lignes maximum)</a:t>
            </a:r>
          </a:p>
        </p:txBody>
      </p:sp>
      <p:sp>
        <p:nvSpPr>
          <p:cNvPr id="14" name="Espace réservé du texte 6"/>
          <p:cNvSpPr>
            <a:spLocks noGrp="1"/>
          </p:cNvSpPr>
          <p:nvPr>
            <p:ph type="body" sz="quarter" idx="13" hasCustomPrompt="1"/>
          </p:nvPr>
        </p:nvSpPr>
        <p:spPr>
          <a:xfrm>
            <a:off x="428634" y="1488228"/>
            <a:ext cx="7977062" cy="346119"/>
          </a:xfrm>
          <a:prstGeom prst="rect">
            <a:avLst/>
          </a:prstGeom>
        </p:spPr>
        <p:txBody>
          <a:bodyPr lIns="95882" tIns="47942" rIns="95882" bIns="47942"/>
          <a:lstStyle>
            <a:lvl1pPr marL="0" indent="0">
              <a:buNone/>
              <a:defRPr sz="1800" b="1" baseline="0">
                <a:solidFill>
                  <a:schemeClr val="bg1">
                    <a:lumMod val="65000"/>
                  </a:schemeClr>
                </a:solidFill>
                <a:latin typeface="Calibri" pitchFamily="34" charset="0"/>
                <a:cs typeface="Calibri" pitchFamily="34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fr-FR" dirty="0"/>
              <a:t>Cliquez ici pour insérer le sous-titre (non obligatoire, 1 ligne maximum)</a:t>
            </a:r>
          </a:p>
        </p:txBody>
      </p:sp>
      <p:cxnSp>
        <p:nvCxnSpPr>
          <p:cNvPr id="17" name="Connecteur droit 16"/>
          <p:cNvCxnSpPr/>
          <p:nvPr userDrawn="1"/>
        </p:nvCxnSpPr>
        <p:spPr>
          <a:xfrm flipH="1">
            <a:off x="0" y="6582671"/>
            <a:ext cx="9906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du contenu 18"/>
          <p:cNvSpPr>
            <a:spLocks noGrp="1"/>
          </p:cNvSpPr>
          <p:nvPr>
            <p:ph sz="quarter" idx="15" hasCustomPrompt="1"/>
          </p:nvPr>
        </p:nvSpPr>
        <p:spPr>
          <a:xfrm>
            <a:off x="309232" y="6582690"/>
            <a:ext cx="4752000" cy="207620"/>
          </a:xfrm>
          <a:prstGeom prst="rect">
            <a:avLst/>
          </a:prstGeom>
        </p:spPr>
        <p:txBody>
          <a:bodyPr lIns="95882" tIns="47942" rIns="95882" bIns="47942"/>
          <a:lstStyle>
            <a:lvl1pPr marL="0" indent="0">
              <a:buNone/>
              <a:defRPr sz="800" i="1" baseline="0">
                <a:solidFill>
                  <a:schemeClr val="bg1">
                    <a:lumMod val="50000"/>
                  </a:schemeClr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fr-FR" dirty="0"/>
              <a:t>Cliquer ici pour renseigner les sources </a:t>
            </a:r>
          </a:p>
        </p:txBody>
      </p:sp>
      <p:sp>
        <p:nvSpPr>
          <p:cNvPr id="21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495300" y="1940176"/>
            <a:ext cx="8915400" cy="97071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defRPr>
            </a:lvl1pPr>
            <a:lvl2pPr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defRPr>
            </a:lvl2pPr>
            <a:lvl3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defRPr>
            </a:lvl3pPr>
            <a:lvl4pPr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defRPr>
            </a:lvl4pPr>
            <a:lvl5pPr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defRPr>
            </a:lvl5pPr>
          </a:lstStyle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BE" dirty="0"/>
          </a:p>
        </p:txBody>
      </p:sp>
      <p:grpSp>
        <p:nvGrpSpPr>
          <p:cNvPr id="2" name="Groupe 14">
            <a:extLst>
              <a:ext uri="{FF2B5EF4-FFF2-40B4-BE49-F238E27FC236}">
                <a16:creationId xmlns:a16="http://schemas.microsoft.com/office/drawing/2014/main" id="{A8F67220-F4B1-4822-AB7E-0AF5997A27BE}"/>
              </a:ext>
            </a:extLst>
          </p:cNvPr>
          <p:cNvGrpSpPr/>
          <p:nvPr userDrawn="1"/>
        </p:nvGrpSpPr>
        <p:grpSpPr>
          <a:xfrm>
            <a:off x="8967140" y="67422"/>
            <a:ext cx="828000" cy="332795"/>
            <a:chOff x="3029770" y="5289957"/>
            <a:chExt cx="2279592" cy="1089603"/>
          </a:xfrm>
        </p:grpSpPr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3148F305-774E-4BB5-B510-58214D597DF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29770" y="5289964"/>
              <a:ext cx="838442" cy="1089596"/>
            </a:xfrm>
            <a:prstGeom prst="rect">
              <a:avLst/>
            </a:prstGeom>
          </p:spPr>
        </p:pic>
        <p:pic>
          <p:nvPicPr>
            <p:cNvPr id="18" name="Picture 607" descr="RÃ©sultat de recherche d'images pour &quot;capital consulting GFI logo&quot;">
              <a:extLst>
                <a:ext uri="{FF2B5EF4-FFF2-40B4-BE49-F238E27FC236}">
                  <a16:creationId xmlns:a16="http://schemas.microsoft.com/office/drawing/2014/main" id="{E99178A4-5B76-47E0-B8C2-57AA055792B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48557" y="5289957"/>
              <a:ext cx="1060805" cy="10608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2" name="Text Box 9">
            <a:extLst>
              <a:ext uri="{FF2B5EF4-FFF2-40B4-BE49-F238E27FC236}">
                <a16:creationId xmlns:a16="http://schemas.microsoft.com/office/drawing/2014/main" id="{1335D415-01AA-45C9-BC5E-DC283E4F825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45425" y="8296"/>
            <a:ext cx="4536000" cy="50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7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ROYAUME DU MAROC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7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Ministère de l’Intérieur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7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Direction Générale des Collectivités Territoriales</a:t>
            </a:r>
          </a:p>
        </p:txBody>
      </p:sp>
      <p:pic>
        <p:nvPicPr>
          <p:cNvPr id="13" name="Picture 56" descr="Image result for royaume du maroc">
            <a:extLst>
              <a:ext uri="{FF2B5EF4-FFF2-40B4-BE49-F238E27FC236}">
                <a16:creationId xmlns:a16="http://schemas.microsoft.com/office/drawing/2014/main" id="{234CA324-A139-4DBA-B44A-1562429923F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97" y="33716"/>
            <a:ext cx="360000" cy="392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734855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4875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1950"/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lang="fr-FR"/>
              <a:t>Modifier le style des sous-titres du masqu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BEC123-E55E-C24C-85DD-F7E6DAB2A107}" type="datetimeFigureOut">
              <a:rPr lang="fr-FR" smtClean="0"/>
              <a:pPr/>
              <a:t>14/07/2022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887438-B11B-6146-AFC7-0CB1DF6A4B9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286218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BEC123-E55E-C24C-85DD-F7E6DAB2A107}" type="datetimeFigureOut">
              <a:rPr lang="fr-FR" smtClean="0"/>
              <a:pPr/>
              <a:t>14/07/2022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887438-B11B-6146-AFC7-0CB1DF6A4B9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611806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8" y="1709739"/>
            <a:ext cx="8543925" cy="2852737"/>
          </a:xfrm>
        </p:spPr>
        <p:txBody>
          <a:bodyPr anchor="b"/>
          <a:lstStyle>
            <a:lvl1pPr>
              <a:defRPr sz="4875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8" y="4589464"/>
            <a:ext cx="8543925" cy="1500187"/>
          </a:xfrm>
        </p:spPr>
        <p:txBody>
          <a:bodyPr/>
          <a:lstStyle>
            <a:lvl1pPr marL="0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3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BEC123-E55E-C24C-85DD-F7E6DAB2A107}" type="datetimeFigureOut">
              <a:rPr lang="fr-FR" smtClean="0"/>
              <a:pPr/>
              <a:t>14/07/2022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887438-B11B-6146-AFC7-0CB1DF6A4B9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352153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BEC123-E55E-C24C-85DD-F7E6DAB2A107}" type="datetimeFigureOut">
              <a:rPr lang="fr-FR" smtClean="0"/>
              <a:pPr/>
              <a:t>14/07/2022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887438-B11B-6146-AFC7-0CB1DF6A4B9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383980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365126"/>
            <a:ext cx="8543925" cy="132556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8" y="1681163"/>
            <a:ext cx="4190702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8" y="2505075"/>
            <a:ext cx="4190702" cy="368458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BEC123-E55E-C24C-85DD-F7E6DAB2A107}" type="datetimeFigureOut">
              <a:rPr lang="fr-FR" smtClean="0"/>
              <a:pPr/>
              <a:t>14/07/2022</a:t>
            </a:fld>
            <a:endParaRPr lang="fr-F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887438-B11B-6146-AFC7-0CB1DF6A4B9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190705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4767" r:id="rId1"/>
    <p:sldLayoutId id="2147484773" r:id="rId2"/>
    <p:sldLayoutId id="2147484789" r:id="rId3"/>
    <p:sldLayoutId id="2147484792" r:id="rId4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6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EBEC123-E55E-C24C-85DD-F7E6DAB2A107}" type="datetimeFigureOut">
              <a:rPr lang="fr-FR" smtClean="0"/>
              <a:pPr/>
              <a:t>14/07/2022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1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887438-B11B-6146-AFC7-0CB1DF6A4B9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537966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94" r:id="rId1"/>
    <p:sldLayoutId id="2147484795" r:id="rId2"/>
    <p:sldLayoutId id="2147484796" r:id="rId3"/>
    <p:sldLayoutId id="2147484797" r:id="rId4"/>
    <p:sldLayoutId id="2147484798" r:id="rId5"/>
    <p:sldLayoutId id="2147484799" r:id="rId6"/>
    <p:sldLayoutId id="2147484800" r:id="rId7"/>
    <p:sldLayoutId id="2147484801" r:id="rId8"/>
    <p:sldLayoutId id="2147484802" r:id="rId9"/>
    <p:sldLayoutId id="2147484803" r:id="rId10"/>
    <p:sldLayoutId id="2147484804" r:id="rId11"/>
  </p:sldLayoutIdLst>
  <p:txStyles>
    <p:titleStyle>
      <a:lvl1pPr algn="l" defTabSz="742950" rtl="0" eaLnBrk="1" latinLnBrk="0" hangingPunct="1">
        <a:lnSpc>
          <a:spcPct val="90000"/>
        </a:lnSpc>
        <a:spcBef>
          <a:spcPct val="0"/>
        </a:spcBef>
        <a:buNone/>
        <a:defRPr sz="35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5738" indent="-185738" algn="l" defTabSz="742950" rtl="0" eaLnBrk="1" latinLnBrk="0" hangingPunct="1">
        <a:lnSpc>
          <a:spcPct val="90000"/>
        </a:lnSpc>
        <a:spcBef>
          <a:spcPts val="813"/>
        </a:spcBef>
        <a:buFont typeface="Arial" panose="020B0604020202020204" pitchFamily="34" charset="0"/>
        <a:buChar char="•"/>
        <a:defRPr sz="2275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286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3001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6716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20431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4145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7860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1575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1.xml"/><Relationship Id="rId4" Type="http://schemas.openxmlformats.org/officeDocument/2006/relationships/tags" Target="../tags/tag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10.xml"/><Relationship Id="rId7" Type="http://schemas.openxmlformats.org/officeDocument/2006/relationships/slideLayout" Target="../slideLayouts/slideLayout1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6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310DBD3-B777-2D9E-4709-8C0EE24226F9}"/>
              </a:ext>
            </a:extLst>
          </p:cNvPr>
          <p:cNvSpPr/>
          <p:nvPr/>
        </p:nvSpPr>
        <p:spPr>
          <a:xfrm>
            <a:off x="1598416" y="4954214"/>
            <a:ext cx="6769802" cy="15650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33388" rtl="1" fontAlgn="auto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</a:pPr>
            <a:r>
              <a:rPr lang="ar-MA" sz="4400" kern="0" dirty="0">
                <a:solidFill>
                  <a:prstClr val="white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استراتيجية التكوين للفائدةالموارد البشرية</a:t>
            </a:r>
            <a:endParaRPr lang="fr-FR" sz="4400" kern="0" dirty="0">
              <a:solidFill>
                <a:prstClr val="white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 algn="ctr" defTabSz="433388" rtl="1" fontAlgn="auto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</a:pPr>
            <a:r>
              <a:rPr lang="ar-MA" sz="4400" kern="0" dirty="0">
                <a:solidFill>
                  <a:prstClr val="white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للجماعات الترابية</a:t>
            </a:r>
          </a:p>
        </p:txBody>
      </p:sp>
      <p:pic>
        <p:nvPicPr>
          <p:cNvPr id="5" name="Image 4" descr="Une image contenant texte&#10;&#10;Description générée automatiquement">
            <a:extLst>
              <a:ext uri="{FF2B5EF4-FFF2-40B4-BE49-F238E27FC236}">
                <a16:creationId xmlns:a16="http://schemas.microsoft.com/office/drawing/2014/main" id="{C81D43B1-CE5E-0778-C708-211549153A7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436" y="-226872"/>
            <a:ext cx="2045037" cy="2886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04515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98065"/>
            <a:ext cx="9906000" cy="892552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>
            <a:spAutoFit/>
          </a:bodyPr>
          <a:lstStyle/>
          <a:p>
            <a:pPr algn="ctr" rtl="1"/>
            <a:r>
              <a:rPr lang="ar-MA" sz="2600" dirty="0">
                <a:solidFill>
                  <a:schemeClr val="bg1"/>
                </a:solidFill>
                <a:latin typeface="Sakkal Majalla" panose="02000000000000000000" pitchFamily="2" charset="-78"/>
                <a:ea typeface="Calibri"/>
                <a:cs typeface="Sakkal Majalla" panose="02000000000000000000" pitchFamily="2" charset="-78"/>
              </a:rPr>
              <a:t>       المحور  الثاني : وضع رهن إشارة الجماعات الترابية عرض تكويني ملائم للحاجيات المهنية و للمسار الإداري للموظف الجماعي</a:t>
            </a:r>
            <a:endParaRPr lang="fr-FR" sz="2275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FE67769-B51D-3616-3CF1-9D22600866E1}"/>
              </a:ext>
            </a:extLst>
          </p:cNvPr>
          <p:cNvSpPr/>
          <p:nvPr/>
        </p:nvSpPr>
        <p:spPr>
          <a:xfrm>
            <a:off x="0" y="6605149"/>
            <a:ext cx="9906000" cy="154786"/>
          </a:xfrm>
          <a:prstGeom prst="rect">
            <a:avLst/>
          </a:prstGeom>
          <a:solidFill>
            <a:srgbClr val="34486E"/>
          </a:solidFill>
        </p:spPr>
        <p:txBody>
          <a:bodyPr wrap="square">
            <a:spAutoFit/>
          </a:bodyPr>
          <a:lstStyle/>
          <a:p>
            <a:pPr algn="ctr"/>
            <a:endParaRPr lang="fr-FR" sz="406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F75FC789-140B-5D28-8FBD-29819062B5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31486" y="293261"/>
            <a:ext cx="492903" cy="475131"/>
          </a:xfrm>
          <a:prstGeom prst="rect">
            <a:avLst/>
          </a:prstGeom>
        </p:spPr>
      </p:pic>
      <p:grpSp>
        <p:nvGrpSpPr>
          <p:cNvPr id="11" name="Groupe 10">
            <a:extLst>
              <a:ext uri="{FF2B5EF4-FFF2-40B4-BE49-F238E27FC236}">
                <a16:creationId xmlns:a16="http://schemas.microsoft.com/office/drawing/2014/main" id="{5A750A09-491F-05FD-2394-D191C0B98331}"/>
              </a:ext>
            </a:extLst>
          </p:cNvPr>
          <p:cNvGrpSpPr/>
          <p:nvPr/>
        </p:nvGrpSpPr>
        <p:grpSpPr>
          <a:xfrm>
            <a:off x="712669" y="3134207"/>
            <a:ext cx="8571911" cy="913600"/>
            <a:chOff x="350291" y="2929258"/>
            <a:chExt cx="9375598" cy="612001"/>
          </a:xfrm>
        </p:grpSpPr>
        <p:sp>
          <p:nvSpPr>
            <p:cNvPr id="12" name="Forme libre 8">
              <a:extLst>
                <a:ext uri="{FF2B5EF4-FFF2-40B4-BE49-F238E27FC236}">
                  <a16:creationId xmlns:a16="http://schemas.microsoft.com/office/drawing/2014/main" id="{4DA5D247-4BAB-9226-EB5B-3A937EB6F02D}"/>
                </a:ext>
              </a:extLst>
            </p:cNvPr>
            <p:cNvSpPr/>
            <p:nvPr/>
          </p:nvSpPr>
          <p:spPr>
            <a:xfrm>
              <a:off x="6737888" y="2929258"/>
              <a:ext cx="2988001" cy="612000"/>
            </a:xfrm>
            <a:custGeom>
              <a:avLst/>
              <a:gdLst>
                <a:gd name="connsiteX0" fmla="*/ 0 w 2357757"/>
                <a:gd name="connsiteY0" fmla="*/ 0 h 518400"/>
                <a:gd name="connsiteX1" fmla="*/ 2357757 w 2357757"/>
                <a:gd name="connsiteY1" fmla="*/ 0 h 518400"/>
                <a:gd name="connsiteX2" fmla="*/ 2357757 w 2357757"/>
                <a:gd name="connsiteY2" fmla="*/ 518400 h 518400"/>
                <a:gd name="connsiteX3" fmla="*/ 0 w 2357757"/>
                <a:gd name="connsiteY3" fmla="*/ 518400 h 518400"/>
                <a:gd name="connsiteX4" fmla="*/ 0 w 2357757"/>
                <a:gd name="connsiteY4" fmla="*/ 0 h 518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7757" h="518400">
                  <a:moveTo>
                    <a:pt x="0" y="0"/>
                  </a:moveTo>
                  <a:lnTo>
                    <a:pt x="2357757" y="0"/>
                  </a:lnTo>
                  <a:lnTo>
                    <a:pt x="2357757" y="518400"/>
                  </a:lnTo>
                  <a:lnTo>
                    <a:pt x="0" y="5184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8016" tIns="73152" rIns="128016" bIns="73152" numCol="1" spcCol="1270" anchor="ctr" anchorCtr="0">
              <a:noAutofit/>
            </a:bodyPr>
            <a:lstStyle/>
            <a:p>
              <a:pPr lvl="0" algn="ctr" defTabSz="8001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ar-MA" sz="1800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Calibri" pitchFamily="34" charset="0"/>
                  <a:cs typeface="Calibri" pitchFamily="34" charset="0"/>
                </a:rPr>
                <a:t>التكوين الأولي</a:t>
              </a:r>
              <a:endParaRPr lang="fr-FR" sz="1800" dirty="0">
                <a:solidFill>
                  <a:schemeClr val="tx1">
                    <a:lumMod val="95000"/>
                    <a:lumOff val="5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3" name="Forme libre 9">
              <a:extLst>
                <a:ext uri="{FF2B5EF4-FFF2-40B4-BE49-F238E27FC236}">
                  <a16:creationId xmlns:a16="http://schemas.microsoft.com/office/drawing/2014/main" id="{29A5AC1D-B981-0B9B-BE14-6EAC006CDE33}"/>
                </a:ext>
              </a:extLst>
            </p:cNvPr>
            <p:cNvSpPr/>
            <p:nvPr/>
          </p:nvSpPr>
          <p:spPr>
            <a:xfrm>
              <a:off x="3544089" y="2929259"/>
              <a:ext cx="2988001" cy="612000"/>
            </a:xfrm>
            <a:custGeom>
              <a:avLst/>
              <a:gdLst>
                <a:gd name="connsiteX0" fmla="*/ 0 w 2357757"/>
                <a:gd name="connsiteY0" fmla="*/ 0 h 518400"/>
                <a:gd name="connsiteX1" fmla="*/ 2357757 w 2357757"/>
                <a:gd name="connsiteY1" fmla="*/ 0 h 518400"/>
                <a:gd name="connsiteX2" fmla="*/ 2357757 w 2357757"/>
                <a:gd name="connsiteY2" fmla="*/ 518400 h 518400"/>
                <a:gd name="connsiteX3" fmla="*/ 0 w 2357757"/>
                <a:gd name="connsiteY3" fmla="*/ 518400 h 518400"/>
                <a:gd name="connsiteX4" fmla="*/ 0 w 2357757"/>
                <a:gd name="connsiteY4" fmla="*/ 0 h 518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7757" h="518400">
                  <a:moveTo>
                    <a:pt x="0" y="0"/>
                  </a:moveTo>
                  <a:lnTo>
                    <a:pt x="2357757" y="0"/>
                  </a:lnTo>
                  <a:lnTo>
                    <a:pt x="2357757" y="518400"/>
                  </a:lnTo>
                  <a:lnTo>
                    <a:pt x="0" y="5184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8016" tIns="73152" rIns="128016" bIns="73152" numCol="1" spcCol="1270" anchor="ctr" anchorCtr="0">
              <a:noAutofit/>
            </a:bodyPr>
            <a:lstStyle/>
            <a:p>
              <a:pPr lvl="0" algn="ctr" defTabSz="8001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ar-MA" sz="1800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Calibri" pitchFamily="34" charset="0"/>
                  <a:cs typeface="Calibri" pitchFamily="34" charset="0"/>
                </a:rPr>
                <a:t>برامج أسلاك التكوين الخاصة</a:t>
              </a:r>
              <a:endParaRPr lang="fr-FR" sz="1800" dirty="0">
                <a:solidFill>
                  <a:schemeClr val="tx1">
                    <a:lumMod val="95000"/>
                    <a:lumOff val="5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4" name="Forme libre 10">
              <a:extLst>
                <a:ext uri="{FF2B5EF4-FFF2-40B4-BE49-F238E27FC236}">
                  <a16:creationId xmlns:a16="http://schemas.microsoft.com/office/drawing/2014/main" id="{2B326880-0F83-8543-26BB-05D204640C06}"/>
                </a:ext>
              </a:extLst>
            </p:cNvPr>
            <p:cNvSpPr/>
            <p:nvPr/>
          </p:nvSpPr>
          <p:spPr>
            <a:xfrm>
              <a:off x="350291" y="2929259"/>
              <a:ext cx="2988000" cy="612000"/>
            </a:xfrm>
            <a:custGeom>
              <a:avLst/>
              <a:gdLst>
                <a:gd name="connsiteX0" fmla="*/ 0 w 2357757"/>
                <a:gd name="connsiteY0" fmla="*/ 0 h 518400"/>
                <a:gd name="connsiteX1" fmla="*/ 2357757 w 2357757"/>
                <a:gd name="connsiteY1" fmla="*/ 0 h 518400"/>
                <a:gd name="connsiteX2" fmla="*/ 2357757 w 2357757"/>
                <a:gd name="connsiteY2" fmla="*/ 518400 h 518400"/>
                <a:gd name="connsiteX3" fmla="*/ 0 w 2357757"/>
                <a:gd name="connsiteY3" fmla="*/ 518400 h 518400"/>
                <a:gd name="connsiteX4" fmla="*/ 0 w 2357757"/>
                <a:gd name="connsiteY4" fmla="*/ 0 h 518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7757" h="518400">
                  <a:moveTo>
                    <a:pt x="0" y="0"/>
                  </a:moveTo>
                  <a:lnTo>
                    <a:pt x="2357757" y="0"/>
                  </a:lnTo>
                  <a:lnTo>
                    <a:pt x="2357757" y="518400"/>
                  </a:lnTo>
                  <a:lnTo>
                    <a:pt x="0" y="5184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8016" tIns="73152" rIns="128016" bIns="73152" numCol="1" spcCol="1270" anchor="ctr" anchorCtr="0">
              <a:noAutofit/>
            </a:bodyPr>
            <a:lstStyle/>
            <a:p>
              <a:pPr algn="ctr" defTabSz="800100">
                <a:lnSpc>
                  <a:spcPct val="90000"/>
                </a:lnSpc>
                <a:spcAft>
                  <a:spcPct val="35000"/>
                </a:spcAft>
              </a:pPr>
              <a:r>
                <a:rPr lang="ar-MA" sz="1800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Calibri" pitchFamily="34" charset="0"/>
                  <a:cs typeface="Calibri" pitchFamily="34" charset="0"/>
                </a:rPr>
                <a:t>دلائل</a:t>
              </a:r>
              <a:r>
                <a:rPr lang="ar-MA" sz="1400" kern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itchFamily="34" charset="0"/>
                  <a:cs typeface="Calibri" pitchFamily="34" charset="0"/>
                </a:rPr>
                <a:t> </a:t>
              </a:r>
              <a:r>
                <a:rPr lang="ar-MA" sz="1800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Calibri" pitchFamily="34" charset="0"/>
                  <a:cs typeface="Calibri" pitchFamily="34" charset="0"/>
                </a:rPr>
                <a:t>السنوية للتكوين المستمر</a:t>
              </a:r>
              <a:endParaRPr lang="fr-FR" sz="1800" dirty="0">
                <a:solidFill>
                  <a:schemeClr val="tx1">
                    <a:lumMod val="95000"/>
                    <a:lumOff val="5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D0EB04AD-E21F-DE1A-6576-11210593EAC6}"/>
              </a:ext>
            </a:extLst>
          </p:cNvPr>
          <p:cNvGrpSpPr/>
          <p:nvPr/>
        </p:nvGrpSpPr>
        <p:grpSpPr>
          <a:xfrm rot="10800000">
            <a:off x="1011000" y="1727408"/>
            <a:ext cx="7884000" cy="828000"/>
            <a:chOff x="924267" y="5003839"/>
            <a:chExt cx="7884000" cy="828000"/>
          </a:xfrm>
        </p:grpSpPr>
        <p:sp>
          <p:nvSpPr>
            <p:cNvPr id="16" name="Flèche droite 15">
              <a:extLst>
                <a:ext uri="{FF2B5EF4-FFF2-40B4-BE49-F238E27FC236}">
                  <a16:creationId xmlns:a16="http://schemas.microsoft.com/office/drawing/2014/main" id="{8F0E7EA7-0ECB-4C28-580F-7BE19613C121}"/>
                </a:ext>
              </a:extLst>
            </p:cNvPr>
            <p:cNvSpPr/>
            <p:nvPr/>
          </p:nvSpPr>
          <p:spPr>
            <a:xfrm>
              <a:off x="924267" y="5003839"/>
              <a:ext cx="7884000" cy="828000"/>
            </a:xfrm>
            <a:prstGeom prst="rightArrow">
              <a:avLst>
                <a:gd name="adj1" fmla="val 100000"/>
                <a:gd name="adj2" fmla="val 65560"/>
              </a:avLst>
            </a:prstGeom>
            <a:solidFill>
              <a:schemeClr val="bg1">
                <a:lumMod val="9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7" name="Forme libre 16">
              <a:extLst>
                <a:ext uri="{FF2B5EF4-FFF2-40B4-BE49-F238E27FC236}">
                  <a16:creationId xmlns:a16="http://schemas.microsoft.com/office/drawing/2014/main" id="{3B4B19D0-2389-4BD6-0B8F-ADCE866111F6}"/>
                </a:ext>
              </a:extLst>
            </p:cNvPr>
            <p:cNvSpPr/>
            <p:nvPr/>
          </p:nvSpPr>
          <p:spPr>
            <a:xfrm rot="10800000">
              <a:off x="1152325" y="5111839"/>
              <a:ext cx="1401242" cy="612000"/>
            </a:xfrm>
            <a:custGeom>
              <a:avLst/>
              <a:gdLst>
                <a:gd name="connsiteX0" fmla="*/ 0 w 1456406"/>
                <a:gd name="connsiteY0" fmla="*/ 144303 h 865798"/>
                <a:gd name="connsiteX1" fmla="*/ 42266 w 1456406"/>
                <a:gd name="connsiteY1" fmla="*/ 42265 h 865798"/>
                <a:gd name="connsiteX2" fmla="*/ 144304 w 1456406"/>
                <a:gd name="connsiteY2" fmla="*/ 0 h 865798"/>
                <a:gd name="connsiteX3" fmla="*/ 1312103 w 1456406"/>
                <a:gd name="connsiteY3" fmla="*/ 0 h 865798"/>
                <a:gd name="connsiteX4" fmla="*/ 1414141 w 1456406"/>
                <a:gd name="connsiteY4" fmla="*/ 42266 h 865798"/>
                <a:gd name="connsiteX5" fmla="*/ 1456406 w 1456406"/>
                <a:gd name="connsiteY5" fmla="*/ 144304 h 865798"/>
                <a:gd name="connsiteX6" fmla="*/ 1456406 w 1456406"/>
                <a:gd name="connsiteY6" fmla="*/ 721495 h 865798"/>
                <a:gd name="connsiteX7" fmla="*/ 1414141 w 1456406"/>
                <a:gd name="connsiteY7" fmla="*/ 823533 h 865798"/>
                <a:gd name="connsiteX8" fmla="*/ 1312103 w 1456406"/>
                <a:gd name="connsiteY8" fmla="*/ 865798 h 865798"/>
                <a:gd name="connsiteX9" fmla="*/ 144303 w 1456406"/>
                <a:gd name="connsiteY9" fmla="*/ 865798 h 865798"/>
                <a:gd name="connsiteX10" fmla="*/ 42265 w 1456406"/>
                <a:gd name="connsiteY10" fmla="*/ 823533 h 865798"/>
                <a:gd name="connsiteX11" fmla="*/ 0 w 1456406"/>
                <a:gd name="connsiteY11" fmla="*/ 721495 h 865798"/>
                <a:gd name="connsiteX12" fmla="*/ 0 w 1456406"/>
                <a:gd name="connsiteY12" fmla="*/ 144303 h 865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56406" h="865798">
                  <a:moveTo>
                    <a:pt x="0" y="144303"/>
                  </a:moveTo>
                  <a:cubicBezTo>
                    <a:pt x="0" y="106031"/>
                    <a:pt x="15203" y="69327"/>
                    <a:pt x="42266" y="42265"/>
                  </a:cubicBezTo>
                  <a:cubicBezTo>
                    <a:pt x="69328" y="15203"/>
                    <a:pt x="106032" y="0"/>
                    <a:pt x="144304" y="0"/>
                  </a:cubicBezTo>
                  <a:lnTo>
                    <a:pt x="1312103" y="0"/>
                  </a:lnTo>
                  <a:cubicBezTo>
                    <a:pt x="1350375" y="0"/>
                    <a:pt x="1387079" y="15203"/>
                    <a:pt x="1414141" y="42266"/>
                  </a:cubicBezTo>
                  <a:cubicBezTo>
                    <a:pt x="1441203" y="69328"/>
                    <a:pt x="1456406" y="106032"/>
                    <a:pt x="1456406" y="144304"/>
                  </a:cubicBezTo>
                  <a:lnTo>
                    <a:pt x="1456406" y="721495"/>
                  </a:lnTo>
                  <a:cubicBezTo>
                    <a:pt x="1456406" y="759767"/>
                    <a:pt x="1441203" y="796471"/>
                    <a:pt x="1414141" y="823533"/>
                  </a:cubicBezTo>
                  <a:cubicBezTo>
                    <a:pt x="1387079" y="850595"/>
                    <a:pt x="1350375" y="865798"/>
                    <a:pt x="1312103" y="865798"/>
                  </a:cubicBezTo>
                  <a:lnTo>
                    <a:pt x="144303" y="865798"/>
                  </a:lnTo>
                  <a:cubicBezTo>
                    <a:pt x="106031" y="865798"/>
                    <a:pt x="69327" y="850595"/>
                    <a:pt x="42265" y="823533"/>
                  </a:cubicBezTo>
                  <a:cubicBezTo>
                    <a:pt x="15203" y="796471"/>
                    <a:pt x="0" y="759767"/>
                    <a:pt x="0" y="721495"/>
                  </a:cubicBezTo>
                  <a:lnTo>
                    <a:pt x="0" y="144303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10845" tIns="110845" rIns="110845" bIns="110845" numCol="1" spcCol="1270" anchor="ctr" anchorCtr="0">
              <a:noAutofit/>
            </a:bodyPr>
            <a:lstStyle/>
            <a:p>
              <a:pPr lvl="0" algn="ctr" defTabSz="8001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ar-MA" sz="1600" kern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itchFamily="34" charset="0"/>
                  <a:cs typeface="Calibri" pitchFamily="34" charset="0"/>
                </a:rPr>
                <a:t>التوظيف</a:t>
              </a:r>
              <a:endParaRPr lang="fr-FR" sz="16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8" name="Forme libre 17">
              <a:extLst>
                <a:ext uri="{FF2B5EF4-FFF2-40B4-BE49-F238E27FC236}">
                  <a16:creationId xmlns:a16="http://schemas.microsoft.com/office/drawing/2014/main" id="{98AF9296-15B0-4F99-94D5-1EBFE24F8CE0}"/>
                </a:ext>
              </a:extLst>
            </p:cNvPr>
            <p:cNvSpPr/>
            <p:nvPr/>
          </p:nvSpPr>
          <p:spPr>
            <a:xfrm rot="10800000">
              <a:off x="4965867" y="5111839"/>
              <a:ext cx="1627912" cy="612000"/>
            </a:xfrm>
            <a:custGeom>
              <a:avLst/>
              <a:gdLst>
                <a:gd name="connsiteX0" fmla="*/ 0 w 1456406"/>
                <a:gd name="connsiteY0" fmla="*/ 144303 h 865798"/>
                <a:gd name="connsiteX1" fmla="*/ 42266 w 1456406"/>
                <a:gd name="connsiteY1" fmla="*/ 42265 h 865798"/>
                <a:gd name="connsiteX2" fmla="*/ 144304 w 1456406"/>
                <a:gd name="connsiteY2" fmla="*/ 0 h 865798"/>
                <a:gd name="connsiteX3" fmla="*/ 1312103 w 1456406"/>
                <a:gd name="connsiteY3" fmla="*/ 0 h 865798"/>
                <a:gd name="connsiteX4" fmla="*/ 1414141 w 1456406"/>
                <a:gd name="connsiteY4" fmla="*/ 42266 h 865798"/>
                <a:gd name="connsiteX5" fmla="*/ 1456406 w 1456406"/>
                <a:gd name="connsiteY5" fmla="*/ 144304 h 865798"/>
                <a:gd name="connsiteX6" fmla="*/ 1456406 w 1456406"/>
                <a:gd name="connsiteY6" fmla="*/ 721495 h 865798"/>
                <a:gd name="connsiteX7" fmla="*/ 1414141 w 1456406"/>
                <a:gd name="connsiteY7" fmla="*/ 823533 h 865798"/>
                <a:gd name="connsiteX8" fmla="*/ 1312103 w 1456406"/>
                <a:gd name="connsiteY8" fmla="*/ 865798 h 865798"/>
                <a:gd name="connsiteX9" fmla="*/ 144303 w 1456406"/>
                <a:gd name="connsiteY9" fmla="*/ 865798 h 865798"/>
                <a:gd name="connsiteX10" fmla="*/ 42265 w 1456406"/>
                <a:gd name="connsiteY10" fmla="*/ 823533 h 865798"/>
                <a:gd name="connsiteX11" fmla="*/ 0 w 1456406"/>
                <a:gd name="connsiteY11" fmla="*/ 721495 h 865798"/>
                <a:gd name="connsiteX12" fmla="*/ 0 w 1456406"/>
                <a:gd name="connsiteY12" fmla="*/ 144303 h 865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56406" h="865798">
                  <a:moveTo>
                    <a:pt x="0" y="144303"/>
                  </a:moveTo>
                  <a:cubicBezTo>
                    <a:pt x="0" y="106031"/>
                    <a:pt x="15203" y="69327"/>
                    <a:pt x="42266" y="42265"/>
                  </a:cubicBezTo>
                  <a:cubicBezTo>
                    <a:pt x="69328" y="15203"/>
                    <a:pt x="106032" y="0"/>
                    <a:pt x="144304" y="0"/>
                  </a:cubicBezTo>
                  <a:lnTo>
                    <a:pt x="1312103" y="0"/>
                  </a:lnTo>
                  <a:cubicBezTo>
                    <a:pt x="1350375" y="0"/>
                    <a:pt x="1387079" y="15203"/>
                    <a:pt x="1414141" y="42266"/>
                  </a:cubicBezTo>
                  <a:cubicBezTo>
                    <a:pt x="1441203" y="69328"/>
                    <a:pt x="1456406" y="106032"/>
                    <a:pt x="1456406" y="144304"/>
                  </a:cubicBezTo>
                  <a:lnTo>
                    <a:pt x="1456406" y="721495"/>
                  </a:lnTo>
                  <a:cubicBezTo>
                    <a:pt x="1456406" y="759767"/>
                    <a:pt x="1441203" y="796471"/>
                    <a:pt x="1414141" y="823533"/>
                  </a:cubicBezTo>
                  <a:cubicBezTo>
                    <a:pt x="1387079" y="850595"/>
                    <a:pt x="1350375" y="865798"/>
                    <a:pt x="1312103" y="865798"/>
                  </a:cubicBezTo>
                  <a:lnTo>
                    <a:pt x="144303" y="865798"/>
                  </a:lnTo>
                  <a:cubicBezTo>
                    <a:pt x="106031" y="865798"/>
                    <a:pt x="69327" y="850595"/>
                    <a:pt x="42265" y="823533"/>
                  </a:cubicBezTo>
                  <a:cubicBezTo>
                    <a:pt x="15203" y="796471"/>
                    <a:pt x="0" y="759767"/>
                    <a:pt x="0" y="721495"/>
                  </a:cubicBezTo>
                  <a:lnTo>
                    <a:pt x="0" y="144303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10845" tIns="110845" rIns="110845" bIns="110845" numCol="1" spcCol="1270" anchor="ctr" anchorCtr="0">
              <a:noAutofit/>
            </a:bodyPr>
            <a:lstStyle/>
            <a:p>
              <a:pPr lvl="0" algn="ctr" defTabSz="8001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ar-MA" sz="1600" kern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itchFamily="34" charset="0"/>
                  <a:cs typeface="Calibri" pitchFamily="34" charset="0"/>
                </a:rPr>
                <a:t>تطور المهن الجماعية</a:t>
              </a:r>
              <a:endParaRPr lang="fr-FR" sz="16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9" name="Forme libre 18">
              <a:extLst>
                <a:ext uri="{FF2B5EF4-FFF2-40B4-BE49-F238E27FC236}">
                  <a16:creationId xmlns:a16="http://schemas.microsoft.com/office/drawing/2014/main" id="{30BD31CC-DA8F-EAE2-18C4-E4F9C7D1A194}"/>
                </a:ext>
              </a:extLst>
            </p:cNvPr>
            <p:cNvSpPr/>
            <p:nvPr/>
          </p:nvSpPr>
          <p:spPr>
            <a:xfrm rot="10800000">
              <a:off x="3032352" y="5111839"/>
              <a:ext cx="1454730" cy="612000"/>
            </a:xfrm>
            <a:custGeom>
              <a:avLst/>
              <a:gdLst>
                <a:gd name="connsiteX0" fmla="*/ 0 w 1456406"/>
                <a:gd name="connsiteY0" fmla="*/ 144303 h 865798"/>
                <a:gd name="connsiteX1" fmla="*/ 42266 w 1456406"/>
                <a:gd name="connsiteY1" fmla="*/ 42265 h 865798"/>
                <a:gd name="connsiteX2" fmla="*/ 144304 w 1456406"/>
                <a:gd name="connsiteY2" fmla="*/ 0 h 865798"/>
                <a:gd name="connsiteX3" fmla="*/ 1312103 w 1456406"/>
                <a:gd name="connsiteY3" fmla="*/ 0 h 865798"/>
                <a:gd name="connsiteX4" fmla="*/ 1414141 w 1456406"/>
                <a:gd name="connsiteY4" fmla="*/ 42266 h 865798"/>
                <a:gd name="connsiteX5" fmla="*/ 1456406 w 1456406"/>
                <a:gd name="connsiteY5" fmla="*/ 144304 h 865798"/>
                <a:gd name="connsiteX6" fmla="*/ 1456406 w 1456406"/>
                <a:gd name="connsiteY6" fmla="*/ 721495 h 865798"/>
                <a:gd name="connsiteX7" fmla="*/ 1414141 w 1456406"/>
                <a:gd name="connsiteY7" fmla="*/ 823533 h 865798"/>
                <a:gd name="connsiteX8" fmla="*/ 1312103 w 1456406"/>
                <a:gd name="connsiteY8" fmla="*/ 865798 h 865798"/>
                <a:gd name="connsiteX9" fmla="*/ 144303 w 1456406"/>
                <a:gd name="connsiteY9" fmla="*/ 865798 h 865798"/>
                <a:gd name="connsiteX10" fmla="*/ 42265 w 1456406"/>
                <a:gd name="connsiteY10" fmla="*/ 823533 h 865798"/>
                <a:gd name="connsiteX11" fmla="*/ 0 w 1456406"/>
                <a:gd name="connsiteY11" fmla="*/ 721495 h 865798"/>
                <a:gd name="connsiteX12" fmla="*/ 0 w 1456406"/>
                <a:gd name="connsiteY12" fmla="*/ 144303 h 865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56406" h="865798">
                  <a:moveTo>
                    <a:pt x="0" y="144303"/>
                  </a:moveTo>
                  <a:cubicBezTo>
                    <a:pt x="0" y="106031"/>
                    <a:pt x="15203" y="69327"/>
                    <a:pt x="42266" y="42265"/>
                  </a:cubicBezTo>
                  <a:cubicBezTo>
                    <a:pt x="69328" y="15203"/>
                    <a:pt x="106032" y="0"/>
                    <a:pt x="144304" y="0"/>
                  </a:cubicBezTo>
                  <a:lnTo>
                    <a:pt x="1312103" y="0"/>
                  </a:lnTo>
                  <a:cubicBezTo>
                    <a:pt x="1350375" y="0"/>
                    <a:pt x="1387079" y="15203"/>
                    <a:pt x="1414141" y="42266"/>
                  </a:cubicBezTo>
                  <a:cubicBezTo>
                    <a:pt x="1441203" y="69328"/>
                    <a:pt x="1456406" y="106032"/>
                    <a:pt x="1456406" y="144304"/>
                  </a:cubicBezTo>
                  <a:lnTo>
                    <a:pt x="1456406" y="721495"/>
                  </a:lnTo>
                  <a:cubicBezTo>
                    <a:pt x="1456406" y="759767"/>
                    <a:pt x="1441203" y="796471"/>
                    <a:pt x="1414141" y="823533"/>
                  </a:cubicBezTo>
                  <a:cubicBezTo>
                    <a:pt x="1387079" y="850595"/>
                    <a:pt x="1350375" y="865798"/>
                    <a:pt x="1312103" y="865798"/>
                  </a:cubicBezTo>
                  <a:lnTo>
                    <a:pt x="144303" y="865798"/>
                  </a:lnTo>
                  <a:cubicBezTo>
                    <a:pt x="106031" y="865798"/>
                    <a:pt x="69327" y="850595"/>
                    <a:pt x="42265" y="823533"/>
                  </a:cubicBezTo>
                  <a:cubicBezTo>
                    <a:pt x="15203" y="796471"/>
                    <a:pt x="0" y="759767"/>
                    <a:pt x="0" y="721495"/>
                  </a:cubicBezTo>
                  <a:lnTo>
                    <a:pt x="0" y="144303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10845" tIns="110845" rIns="110845" bIns="110845" numCol="1" spcCol="1270" anchor="ctr" anchorCtr="0">
              <a:noAutofit/>
            </a:bodyPr>
            <a:lstStyle/>
            <a:p>
              <a:pPr lvl="0" algn="ctr" defTabSz="8001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ar-MA" sz="1600" kern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itchFamily="34" charset="0"/>
                  <a:cs typeface="Calibri" pitchFamily="34" charset="0"/>
                </a:rPr>
                <a:t>الحركية و المسار المهني</a:t>
              </a:r>
              <a:endParaRPr lang="fr-FR" sz="16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0" name="Forme libre 19">
              <a:extLst>
                <a:ext uri="{FF2B5EF4-FFF2-40B4-BE49-F238E27FC236}">
                  <a16:creationId xmlns:a16="http://schemas.microsoft.com/office/drawing/2014/main" id="{69B49E6C-20C7-55FA-0245-3C8654BD7EC2}"/>
                </a:ext>
              </a:extLst>
            </p:cNvPr>
            <p:cNvSpPr/>
            <p:nvPr/>
          </p:nvSpPr>
          <p:spPr>
            <a:xfrm rot="10800000">
              <a:off x="7072564" y="5111839"/>
              <a:ext cx="1292721" cy="612000"/>
            </a:xfrm>
            <a:custGeom>
              <a:avLst/>
              <a:gdLst>
                <a:gd name="connsiteX0" fmla="*/ 0 w 1456406"/>
                <a:gd name="connsiteY0" fmla="*/ 144303 h 865798"/>
                <a:gd name="connsiteX1" fmla="*/ 42266 w 1456406"/>
                <a:gd name="connsiteY1" fmla="*/ 42265 h 865798"/>
                <a:gd name="connsiteX2" fmla="*/ 144304 w 1456406"/>
                <a:gd name="connsiteY2" fmla="*/ 0 h 865798"/>
                <a:gd name="connsiteX3" fmla="*/ 1312103 w 1456406"/>
                <a:gd name="connsiteY3" fmla="*/ 0 h 865798"/>
                <a:gd name="connsiteX4" fmla="*/ 1414141 w 1456406"/>
                <a:gd name="connsiteY4" fmla="*/ 42266 h 865798"/>
                <a:gd name="connsiteX5" fmla="*/ 1456406 w 1456406"/>
                <a:gd name="connsiteY5" fmla="*/ 144304 h 865798"/>
                <a:gd name="connsiteX6" fmla="*/ 1456406 w 1456406"/>
                <a:gd name="connsiteY6" fmla="*/ 721495 h 865798"/>
                <a:gd name="connsiteX7" fmla="*/ 1414141 w 1456406"/>
                <a:gd name="connsiteY7" fmla="*/ 823533 h 865798"/>
                <a:gd name="connsiteX8" fmla="*/ 1312103 w 1456406"/>
                <a:gd name="connsiteY8" fmla="*/ 865798 h 865798"/>
                <a:gd name="connsiteX9" fmla="*/ 144303 w 1456406"/>
                <a:gd name="connsiteY9" fmla="*/ 865798 h 865798"/>
                <a:gd name="connsiteX10" fmla="*/ 42265 w 1456406"/>
                <a:gd name="connsiteY10" fmla="*/ 823533 h 865798"/>
                <a:gd name="connsiteX11" fmla="*/ 0 w 1456406"/>
                <a:gd name="connsiteY11" fmla="*/ 721495 h 865798"/>
                <a:gd name="connsiteX12" fmla="*/ 0 w 1456406"/>
                <a:gd name="connsiteY12" fmla="*/ 144303 h 865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56406" h="865798">
                  <a:moveTo>
                    <a:pt x="0" y="144303"/>
                  </a:moveTo>
                  <a:cubicBezTo>
                    <a:pt x="0" y="106031"/>
                    <a:pt x="15203" y="69327"/>
                    <a:pt x="42266" y="42265"/>
                  </a:cubicBezTo>
                  <a:cubicBezTo>
                    <a:pt x="69328" y="15203"/>
                    <a:pt x="106032" y="0"/>
                    <a:pt x="144304" y="0"/>
                  </a:cubicBezTo>
                  <a:lnTo>
                    <a:pt x="1312103" y="0"/>
                  </a:lnTo>
                  <a:cubicBezTo>
                    <a:pt x="1350375" y="0"/>
                    <a:pt x="1387079" y="15203"/>
                    <a:pt x="1414141" y="42266"/>
                  </a:cubicBezTo>
                  <a:cubicBezTo>
                    <a:pt x="1441203" y="69328"/>
                    <a:pt x="1456406" y="106032"/>
                    <a:pt x="1456406" y="144304"/>
                  </a:cubicBezTo>
                  <a:lnTo>
                    <a:pt x="1456406" y="721495"/>
                  </a:lnTo>
                  <a:cubicBezTo>
                    <a:pt x="1456406" y="759767"/>
                    <a:pt x="1441203" y="796471"/>
                    <a:pt x="1414141" y="823533"/>
                  </a:cubicBezTo>
                  <a:cubicBezTo>
                    <a:pt x="1387079" y="850595"/>
                    <a:pt x="1350375" y="865798"/>
                    <a:pt x="1312103" y="865798"/>
                  </a:cubicBezTo>
                  <a:lnTo>
                    <a:pt x="144303" y="865798"/>
                  </a:lnTo>
                  <a:cubicBezTo>
                    <a:pt x="106031" y="865798"/>
                    <a:pt x="69327" y="850595"/>
                    <a:pt x="42265" y="823533"/>
                  </a:cubicBezTo>
                  <a:cubicBezTo>
                    <a:pt x="15203" y="796471"/>
                    <a:pt x="0" y="759767"/>
                    <a:pt x="0" y="721495"/>
                  </a:cubicBezTo>
                  <a:lnTo>
                    <a:pt x="0" y="144303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10845" tIns="110845" rIns="110845" bIns="110845" numCol="1" spcCol="1270" anchor="ctr" anchorCtr="0">
              <a:noAutofit/>
            </a:bodyPr>
            <a:lstStyle/>
            <a:p>
              <a:pPr lvl="0" algn="ctr" defTabSz="8001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ar-MA" sz="1600" kern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itchFamily="34" charset="0"/>
                  <a:cs typeface="Calibri" pitchFamily="34" charset="0"/>
                </a:rPr>
                <a:t>التدبير </a:t>
              </a:r>
              <a:r>
                <a:rPr lang="ar-MA" sz="1600" kern="12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itchFamily="34" charset="0"/>
                  <a:cs typeface="Calibri" pitchFamily="34" charset="0"/>
                </a:rPr>
                <a:t>التوقعي</a:t>
              </a:r>
              <a:endParaRPr lang="fr-FR" sz="16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sp>
        <p:nvSpPr>
          <p:cNvPr id="27" name="Triangle isocèle 19">
            <a:extLst>
              <a:ext uri="{FF2B5EF4-FFF2-40B4-BE49-F238E27FC236}">
                <a16:creationId xmlns:a16="http://schemas.microsoft.com/office/drawing/2014/main" id="{45F6211C-444D-69C9-2B55-DFE68D5D86B6}"/>
              </a:ext>
            </a:extLst>
          </p:cNvPr>
          <p:cNvSpPr/>
          <p:nvPr/>
        </p:nvSpPr>
        <p:spPr>
          <a:xfrm>
            <a:off x="2009433" y="2730561"/>
            <a:ext cx="694944" cy="186267"/>
          </a:xfrm>
          <a:prstGeom prst="triangle">
            <a:avLst/>
          </a:prstGeom>
          <a:solidFill>
            <a:srgbClr val="34486E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8" name="Triangle isocèle 26">
            <a:extLst>
              <a:ext uri="{FF2B5EF4-FFF2-40B4-BE49-F238E27FC236}">
                <a16:creationId xmlns:a16="http://schemas.microsoft.com/office/drawing/2014/main" id="{5212D0F4-24F4-D2C1-DEDB-4C65BA25D41B}"/>
              </a:ext>
            </a:extLst>
          </p:cNvPr>
          <p:cNvSpPr/>
          <p:nvPr/>
        </p:nvSpPr>
        <p:spPr>
          <a:xfrm>
            <a:off x="4551552" y="2747857"/>
            <a:ext cx="694944" cy="186267"/>
          </a:xfrm>
          <a:prstGeom prst="triangle">
            <a:avLst/>
          </a:prstGeom>
          <a:solidFill>
            <a:srgbClr val="34486E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9" name="Triangle isocèle 27">
            <a:extLst>
              <a:ext uri="{FF2B5EF4-FFF2-40B4-BE49-F238E27FC236}">
                <a16:creationId xmlns:a16="http://schemas.microsoft.com/office/drawing/2014/main" id="{F82B0183-7863-15A4-A3BE-10A67A95696A}"/>
              </a:ext>
            </a:extLst>
          </p:cNvPr>
          <p:cNvSpPr/>
          <p:nvPr/>
        </p:nvSpPr>
        <p:spPr>
          <a:xfrm>
            <a:off x="7505759" y="2757454"/>
            <a:ext cx="694944" cy="186267"/>
          </a:xfrm>
          <a:prstGeom prst="triangle">
            <a:avLst/>
          </a:prstGeom>
          <a:solidFill>
            <a:srgbClr val="34486E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21183069"/>
      </p:ext>
    </p:extLst>
  </p:cSld>
  <p:clrMapOvr>
    <a:masterClrMapping/>
  </p:clrMapOvr>
  <p:transition spd="slow">
    <p:push dir="u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98065"/>
            <a:ext cx="9906000" cy="892552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>
            <a:spAutoFit/>
          </a:bodyPr>
          <a:lstStyle/>
          <a:p>
            <a:pPr algn="ctr" rtl="1"/>
            <a:r>
              <a:rPr lang="ar-MA" sz="2600" dirty="0">
                <a:solidFill>
                  <a:schemeClr val="bg1"/>
                </a:solidFill>
                <a:latin typeface="Sakkal Majalla" panose="02000000000000000000" pitchFamily="2" charset="-78"/>
                <a:ea typeface="Calibri"/>
                <a:cs typeface="Sakkal Majalla" panose="02000000000000000000" pitchFamily="2" charset="-78"/>
              </a:rPr>
              <a:t>            يتم تفعيل استراتيجية التكوين لفائدة الجماعات الترابية عبر أربع محاور أساسية </a:t>
            </a:r>
          </a:p>
          <a:p>
            <a:pPr algn="ctr" rtl="1"/>
            <a:r>
              <a:rPr lang="ar-MA" sz="2600" dirty="0">
                <a:solidFill>
                  <a:schemeClr val="bg1"/>
                </a:solidFill>
                <a:latin typeface="Sakkal Majalla" panose="02000000000000000000" pitchFamily="2" charset="-78"/>
                <a:ea typeface="Calibri"/>
                <a:cs typeface="Sakkal Majalla" panose="02000000000000000000" pitchFamily="2" charset="-78"/>
              </a:rPr>
              <a:t>-ورقة الطريق-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FE67769-B51D-3616-3CF1-9D22600866E1}"/>
              </a:ext>
            </a:extLst>
          </p:cNvPr>
          <p:cNvSpPr/>
          <p:nvPr/>
        </p:nvSpPr>
        <p:spPr>
          <a:xfrm>
            <a:off x="0" y="6605149"/>
            <a:ext cx="9906000" cy="154786"/>
          </a:xfrm>
          <a:prstGeom prst="rect">
            <a:avLst/>
          </a:prstGeom>
          <a:solidFill>
            <a:srgbClr val="34486E"/>
          </a:solidFill>
        </p:spPr>
        <p:txBody>
          <a:bodyPr wrap="square">
            <a:spAutoFit/>
          </a:bodyPr>
          <a:lstStyle/>
          <a:p>
            <a:pPr algn="ctr"/>
            <a:endParaRPr lang="fr-FR" sz="406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F75FC789-140B-5D28-8FBD-29819062B5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88051" y="306775"/>
            <a:ext cx="492903" cy="475131"/>
          </a:xfrm>
          <a:prstGeom prst="rect">
            <a:avLst/>
          </a:prstGeom>
        </p:spPr>
      </p:pic>
      <p:sp>
        <p:nvSpPr>
          <p:cNvPr id="31" name="Forme libre 30">
            <a:extLst>
              <a:ext uri="{FF2B5EF4-FFF2-40B4-BE49-F238E27FC236}">
                <a16:creationId xmlns:a16="http://schemas.microsoft.com/office/drawing/2014/main" id="{D0463001-F852-7AF6-8910-E14AE6AEAF82}"/>
              </a:ext>
            </a:extLst>
          </p:cNvPr>
          <p:cNvSpPr/>
          <p:nvPr/>
        </p:nvSpPr>
        <p:spPr>
          <a:xfrm>
            <a:off x="2439556" y="1815348"/>
            <a:ext cx="4675948" cy="724215"/>
          </a:xfrm>
          <a:custGeom>
            <a:avLst/>
            <a:gdLst>
              <a:gd name="connsiteX0" fmla="*/ 0 w 3209544"/>
              <a:gd name="connsiteY0" fmla="*/ 120026 h 720143"/>
              <a:gd name="connsiteX1" fmla="*/ 35155 w 3209544"/>
              <a:gd name="connsiteY1" fmla="*/ 35155 h 720143"/>
              <a:gd name="connsiteX2" fmla="*/ 120026 w 3209544"/>
              <a:gd name="connsiteY2" fmla="*/ 0 h 720143"/>
              <a:gd name="connsiteX3" fmla="*/ 3089518 w 3209544"/>
              <a:gd name="connsiteY3" fmla="*/ 0 h 720143"/>
              <a:gd name="connsiteX4" fmla="*/ 3174389 w 3209544"/>
              <a:gd name="connsiteY4" fmla="*/ 35155 h 720143"/>
              <a:gd name="connsiteX5" fmla="*/ 3209544 w 3209544"/>
              <a:gd name="connsiteY5" fmla="*/ 120026 h 720143"/>
              <a:gd name="connsiteX6" fmla="*/ 3209544 w 3209544"/>
              <a:gd name="connsiteY6" fmla="*/ 600117 h 720143"/>
              <a:gd name="connsiteX7" fmla="*/ 3174389 w 3209544"/>
              <a:gd name="connsiteY7" fmla="*/ 684988 h 720143"/>
              <a:gd name="connsiteX8" fmla="*/ 3089518 w 3209544"/>
              <a:gd name="connsiteY8" fmla="*/ 720143 h 720143"/>
              <a:gd name="connsiteX9" fmla="*/ 120026 w 3209544"/>
              <a:gd name="connsiteY9" fmla="*/ 720143 h 720143"/>
              <a:gd name="connsiteX10" fmla="*/ 35155 w 3209544"/>
              <a:gd name="connsiteY10" fmla="*/ 684988 h 720143"/>
              <a:gd name="connsiteX11" fmla="*/ 0 w 3209544"/>
              <a:gd name="connsiteY11" fmla="*/ 600117 h 720143"/>
              <a:gd name="connsiteX12" fmla="*/ 0 w 3209544"/>
              <a:gd name="connsiteY12" fmla="*/ 120026 h 7201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209544" h="720143">
                <a:moveTo>
                  <a:pt x="0" y="120026"/>
                </a:moveTo>
                <a:cubicBezTo>
                  <a:pt x="0" y="88193"/>
                  <a:pt x="12646" y="57664"/>
                  <a:pt x="35155" y="35155"/>
                </a:cubicBezTo>
                <a:cubicBezTo>
                  <a:pt x="57664" y="12646"/>
                  <a:pt x="88193" y="0"/>
                  <a:pt x="120026" y="0"/>
                </a:cubicBezTo>
                <a:lnTo>
                  <a:pt x="3089518" y="0"/>
                </a:lnTo>
                <a:cubicBezTo>
                  <a:pt x="3121351" y="0"/>
                  <a:pt x="3151880" y="12646"/>
                  <a:pt x="3174389" y="35155"/>
                </a:cubicBezTo>
                <a:cubicBezTo>
                  <a:pt x="3196898" y="57664"/>
                  <a:pt x="3209544" y="88193"/>
                  <a:pt x="3209544" y="120026"/>
                </a:cubicBezTo>
                <a:lnTo>
                  <a:pt x="3209544" y="600117"/>
                </a:lnTo>
                <a:cubicBezTo>
                  <a:pt x="3209544" y="631950"/>
                  <a:pt x="3196898" y="662479"/>
                  <a:pt x="3174389" y="684988"/>
                </a:cubicBezTo>
                <a:cubicBezTo>
                  <a:pt x="3151880" y="707497"/>
                  <a:pt x="3121351" y="720143"/>
                  <a:pt x="3089518" y="720143"/>
                </a:cubicBezTo>
                <a:lnTo>
                  <a:pt x="120026" y="720143"/>
                </a:lnTo>
                <a:cubicBezTo>
                  <a:pt x="88193" y="720143"/>
                  <a:pt x="57664" y="707497"/>
                  <a:pt x="35155" y="684988"/>
                </a:cubicBezTo>
                <a:cubicBezTo>
                  <a:pt x="12646" y="662479"/>
                  <a:pt x="0" y="631950"/>
                  <a:pt x="0" y="600117"/>
                </a:cubicBezTo>
                <a:lnTo>
                  <a:pt x="0" y="120026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7064" tIns="56109" rIns="77064" bIns="56109" numCol="1" spcCol="1270" anchor="ctr" anchorCtr="0">
            <a:noAutofit/>
          </a:bodyPr>
          <a:lstStyle/>
          <a:p>
            <a:pPr indent="8255" algn="ctr" rtl="1">
              <a:lnSpc>
                <a:spcPct val="107000"/>
              </a:lnSpc>
              <a:spcAft>
                <a:spcPts val="0"/>
              </a:spcAft>
            </a:pPr>
            <a:r>
              <a:rPr lang="ar-MA" sz="1800" b="0" kern="0" dirty="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ملاءمة الإطار القانوني والتنظيمي</a:t>
            </a:r>
            <a:endParaRPr lang="en-US" sz="1800" b="0" kern="0" dirty="0">
              <a:solidFill>
                <a:schemeClr val="tx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32" name="Forme libre 31">
            <a:extLst>
              <a:ext uri="{FF2B5EF4-FFF2-40B4-BE49-F238E27FC236}">
                <a16:creationId xmlns:a16="http://schemas.microsoft.com/office/drawing/2014/main" id="{06860FF7-CE5F-2E0F-CAB4-5BFF1B9EA7C7}"/>
              </a:ext>
            </a:extLst>
          </p:cNvPr>
          <p:cNvSpPr/>
          <p:nvPr/>
        </p:nvSpPr>
        <p:spPr>
          <a:xfrm>
            <a:off x="2439556" y="2885023"/>
            <a:ext cx="4675948" cy="724215"/>
          </a:xfrm>
          <a:custGeom>
            <a:avLst/>
            <a:gdLst>
              <a:gd name="connsiteX0" fmla="*/ 0 w 3209544"/>
              <a:gd name="connsiteY0" fmla="*/ 120026 h 720143"/>
              <a:gd name="connsiteX1" fmla="*/ 35155 w 3209544"/>
              <a:gd name="connsiteY1" fmla="*/ 35155 h 720143"/>
              <a:gd name="connsiteX2" fmla="*/ 120026 w 3209544"/>
              <a:gd name="connsiteY2" fmla="*/ 0 h 720143"/>
              <a:gd name="connsiteX3" fmla="*/ 3089518 w 3209544"/>
              <a:gd name="connsiteY3" fmla="*/ 0 h 720143"/>
              <a:gd name="connsiteX4" fmla="*/ 3174389 w 3209544"/>
              <a:gd name="connsiteY4" fmla="*/ 35155 h 720143"/>
              <a:gd name="connsiteX5" fmla="*/ 3209544 w 3209544"/>
              <a:gd name="connsiteY5" fmla="*/ 120026 h 720143"/>
              <a:gd name="connsiteX6" fmla="*/ 3209544 w 3209544"/>
              <a:gd name="connsiteY6" fmla="*/ 600117 h 720143"/>
              <a:gd name="connsiteX7" fmla="*/ 3174389 w 3209544"/>
              <a:gd name="connsiteY7" fmla="*/ 684988 h 720143"/>
              <a:gd name="connsiteX8" fmla="*/ 3089518 w 3209544"/>
              <a:gd name="connsiteY8" fmla="*/ 720143 h 720143"/>
              <a:gd name="connsiteX9" fmla="*/ 120026 w 3209544"/>
              <a:gd name="connsiteY9" fmla="*/ 720143 h 720143"/>
              <a:gd name="connsiteX10" fmla="*/ 35155 w 3209544"/>
              <a:gd name="connsiteY10" fmla="*/ 684988 h 720143"/>
              <a:gd name="connsiteX11" fmla="*/ 0 w 3209544"/>
              <a:gd name="connsiteY11" fmla="*/ 600117 h 720143"/>
              <a:gd name="connsiteX12" fmla="*/ 0 w 3209544"/>
              <a:gd name="connsiteY12" fmla="*/ 120026 h 7201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209544" h="720143">
                <a:moveTo>
                  <a:pt x="0" y="120026"/>
                </a:moveTo>
                <a:cubicBezTo>
                  <a:pt x="0" y="88193"/>
                  <a:pt x="12646" y="57664"/>
                  <a:pt x="35155" y="35155"/>
                </a:cubicBezTo>
                <a:cubicBezTo>
                  <a:pt x="57664" y="12646"/>
                  <a:pt x="88193" y="0"/>
                  <a:pt x="120026" y="0"/>
                </a:cubicBezTo>
                <a:lnTo>
                  <a:pt x="3089518" y="0"/>
                </a:lnTo>
                <a:cubicBezTo>
                  <a:pt x="3121351" y="0"/>
                  <a:pt x="3151880" y="12646"/>
                  <a:pt x="3174389" y="35155"/>
                </a:cubicBezTo>
                <a:cubicBezTo>
                  <a:pt x="3196898" y="57664"/>
                  <a:pt x="3209544" y="88193"/>
                  <a:pt x="3209544" y="120026"/>
                </a:cubicBezTo>
                <a:lnTo>
                  <a:pt x="3209544" y="600117"/>
                </a:lnTo>
                <a:cubicBezTo>
                  <a:pt x="3209544" y="631950"/>
                  <a:pt x="3196898" y="662479"/>
                  <a:pt x="3174389" y="684988"/>
                </a:cubicBezTo>
                <a:cubicBezTo>
                  <a:pt x="3151880" y="707497"/>
                  <a:pt x="3121351" y="720143"/>
                  <a:pt x="3089518" y="720143"/>
                </a:cubicBezTo>
                <a:lnTo>
                  <a:pt x="120026" y="720143"/>
                </a:lnTo>
                <a:cubicBezTo>
                  <a:pt x="88193" y="720143"/>
                  <a:pt x="57664" y="707497"/>
                  <a:pt x="35155" y="684988"/>
                </a:cubicBezTo>
                <a:cubicBezTo>
                  <a:pt x="12646" y="662479"/>
                  <a:pt x="0" y="631950"/>
                  <a:pt x="0" y="600117"/>
                </a:cubicBezTo>
                <a:lnTo>
                  <a:pt x="0" y="120026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7064" tIns="56109" rIns="77064" bIns="56109" numCol="1" spcCol="1270" anchor="ctr" anchorCtr="0">
            <a:noAutofit/>
          </a:bodyPr>
          <a:lstStyle/>
          <a:p>
            <a:pPr indent="8255" algn="ctr" rtl="1">
              <a:lnSpc>
                <a:spcPct val="107000"/>
              </a:lnSpc>
              <a:spcAft>
                <a:spcPts val="0"/>
              </a:spcAft>
            </a:pPr>
            <a:r>
              <a:rPr lang="ar-MA" sz="1800" b="0" kern="0" dirty="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وضع نظام حكامة جديد للتكوين</a:t>
            </a:r>
            <a:endParaRPr lang="en-US" sz="1800" b="0" kern="0" dirty="0">
              <a:solidFill>
                <a:schemeClr val="tx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33" name="Forme libre 32">
            <a:extLst>
              <a:ext uri="{FF2B5EF4-FFF2-40B4-BE49-F238E27FC236}">
                <a16:creationId xmlns:a16="http://schemas.microsoft.com/office/drawing/2014/main" id="{44B55607-D77C-206B-E0DE-5728D3C87AC6}"/>
              </a:ext>
            </a:extLst>
          </p:cNvPr>
          <p:cNvSpPr/>
          <p:nvPr/>
        </p:nvSpPr>
        <p:spPr>
          <a:xfrm>
            <a:off x="2439556" y="3882226"/>
            <a:ext cx="4675948" cy="726716"/>
          </a:xfrm>
          <a:custGeom>
            <a:avLst/>
            <a:gdLst>
              <a:gd name="connsiteX0" fmla="*/ 0 w 3209544"/>
              <a:gd name="connsiteY0" fmla="*/ 120026 h 720143"/>
              <a:gd name="connsiteX1" fmla="*/ 35155 w 3209544"/>
              <a:gd name="connsiteY1" fmla="*/ 35155 h 720143"/>
              <a:gd name="connsiteX2" fmla="*/ 120026 w 3209544"/>
              <a:gd name="connsiteY2" fmla="*/ 0 h 720143"/>
              <a:gd name="connsiteX3" fmla="*/ 3089518 w 3209544"/>
              <a:gd name="connsiteY3" fmla="*/ 0 h 720143"/>
              <a:gd name="connsiteX4" fmla="*/ 3174389 w 3209544"/>
              <a:gd name="connsiteY4" fmla="*/ 35155 h 720143"/>
              <a:gd name="connsiteX5" fmla="*/ 3209544 w 3209544"/>
              <a:gd name="connsiteY5" fmla="*/ 120026 h 720143"/>
              <a:gd name="connsiteX6" fmla="*/ 3209544 w 3209544"/>
              <a:gd name="connsiteY6" fmla="*/ 600117 h 720143"/>
              <a:gd name="connsiteX7" fmla="*/ 3174389 w 3209544"/>
              <a:gd name="connsiteY7" fmla="*/ 684988 h 720143"/>
              <a:gd name="connsiteX8" fmla="*/ 3089518 w 3209544"/>
              <a:gd name="connsiteY8" fmla="*/ 720143 h 720143"/>
              <a:gd name="connsiteX9" fmla="*/ 120026 w 3209544"/>
              <a:gd name="connsiteY9" fmla="*/ 720143 h 720143"/>
              <a:gd name="connsiteX10" fmla="*/ 35155 w 3209544"/>
              <a:gd name="connsiteY10" fmla="*/ 684988 h 720143"/>
              <a:gd name="connsiteX11" fmla="*/ 0 w 3209544"/>
              <a:gd name="connsiteY11" fmla="*/ 600117 h 720143"/>
              <a:gd name="connsiteX12" fmla="*/ 0 w 3209544"/>
              <a:gd name="connsiteY12" fmla="*/ 120026 h 7201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209544" h="720143">
                <a:moveTo>
                  <a:pt x="0" y="120026"/>
                </a:moveTo>
                <a:cubicBezTo>
                  <a:pt x="0" y="88193"/>
                  <a:pt x="12646" y="57664"/>
                  <a:pt x="35155" y="35155"/>
                </a:cubicBezTo>
                <a:cubicBezTo>
                  <a:pt x="57664" y="12646"/>
                  <a:pt x="88193" y="0"/>
                  <a:pt x="120026" y="0"/>
                </a:cubicBezTo>
                <a:lnTo>
                  <a:pt x="3089518" y="0"/>
                </a:lnTo>
                <a:cubicBezTo>
                  <a:pt x="3121351" y="0"/>
                  <a:pt x="3151880" y="12646"/>
                  <a:pt x="3174389" y="35155"/>
                </a:cubicBezTo>
                <a:cubicBezTo>
                  <a:pt x="3196898" y="57664"/>
                  <a:pt x="3209544" y="88193"/>
                  <a:pt x="3209544" y="120026"/>
                </a:cubicBezTo>
                <a:lnTo>
                  <a:pt x="3209544" y="600117"/>
                </a:lnTo>
                <a:cubicBezTo>
                  <a:pt x="3209544" y="631950"/>
                  <a:pt x="3196898" y="662479"/>
                  <a:pt x="3174389" y="684988"/>
                </a:cubicBezTo>
                <a:cubicBezTo>
                  <a:pt x="3151880" y="707497"/>
                  <a:pt x="3121351" y="720143"/>
                  <a:pt x="3089518" y="720143"/>
                </a:cubicBezTo>
                <a:lnTo>
                  <a:pt x="120026" y="720143"/>
                </a:lnTo>
                <a:cubicBezTo>
                  <a:pt x="88193" y="720143"/>
                  <a:pt x="57664" y="707497"/>
                  <a:pt x="35155" y="684988"/>
                </a:cubicBezTo>
                <a:cubicBezTo>
                  <a:pt x="12646" y="662479"/>
                  <a:pt x="0" y="631950"/>
                  <a:pt x="0" y="600117"/>
                </a:cubicBezTo>
                <a:lnTo>
                  <a:pt x="0" y="120026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7064" tIns="56109" rIns="77064" bIns="56109" numCol="1" spcCol="1270" anchor="ctr" anchorCtr="0">
            <a:noAutofit/>
          </a:bodyPr>
          <a:lstStyle/>
          <a:p>
            <a:pPr indent="8255" algn="ctr" rtl="1">
              <a:lnSpc>
                <a:spcPct val="107000"/>
              </a:lnSpc>
              <a:spcAft>
                <a:spcPts val="0"/>
              </a:spcAft>
            </a:pPr>
            <a:r>
              <a:rPr lang="ar-MA" sz="1800" b="0" kern="0" dirty="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 تطوير</a:t>
            </a:r>
            <a:endParaRPr lang="en-US" sz="1800" b="0" kern="0" dirty="0">
              <a:solidFill>
                <a:schemeClr val="tx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 indent="8255" algn="ctr" rtl="1">
              <a:lnSpc>
                <a:spcPct val="107000"/>
              </a:lnSpc>
              <a:spcAft>
                <a:spcPts val="0"/>
              </a:spcAft>
            </a:pPr>
            <a:r>
              <a:rPr lang="ar-MA" sz="1800" b="0" kern="0" dirty="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العرض التكويني و منظومة التتبع   </a:t>
            </a:r>
            <a:endParaRPr lang="en-US" sz="1800" b="0" kern="0" dirty="0">
              <a:solidFill>
                <a:schemeClr val="tx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35" name="Forme libre 34">
            <a:extLst>
              <a:ext uri="{FF2B5EF4-FFF2-40B4-BE49-F238E27FC236}">
                <a16:creationId xmlns:a16="http://schemas.microsoft.com/office/drawing/2014/main" id="{6E1F8B9D-E22C-8391-442C-3A98370B3F1E}"/>
              </a:ext>
            </a:extLst>
          </p:cNvPr>
          <p:cNvSpPr/>
          <p:nvPr/>
        </p:nvSpPr>
        <p:spPr>
          <a:xfrm>
            <a:off x="2439556" y="4924933"/>
            <a:ext cx="4675948" cy="709979"/>
          </a:xfrm>
          <a:custGeom>
            <a:avLst/>
            <a:gdLst>
              <a:gd name="connsiteX0" fmla="*/ 0 w 3209544"/>
              <a:gd name="connsiteY0" fmla="*/ 120026 h 720143"/>
              <a:gd name="connsiteX1" fmla="*/ 35155 w 3209544"/>
              <a:gd name="connsiteY1" fmla="*/ 35155 h 720143"/>
              <a:gd name="connsiteX2" fmla="*/ 120026 w 3209544"/>
              <a:gd name="connsiteY2" fmla="*/ 0 h 720143"/>
              <a:gd name="connsiteX3" fmla="*/ 3089518 w 3209544"/>
              <a:gd name="connsiteY3" fmla="*/ 0 h 720143"/>
              <a:gd name="connsiteX4" fmla="*/ 3174389 w 3209544"/>
              <a:gd name="connsiteY4" fmla="*/ 35155 h 720143"/>
              <a:gd name="connsiteX5" fmla="*/ 3209544 w 3209544"/>
              <a:gd name="connsiteY5" fmla="*/ 120026 h 720143"/>
              <a:gd name="connsiteX6" fmla="*/ 3209544 w 3209544"/>
              <a:gd name="connsiteY6" fmla="*/ 600117 h 720143"/>
              <a:gd name="connsiteX7" fmla="*/ 3174389 w 3209544"/>
              <a:gd name="connsiteY7" fmla="*/ 684988 h 720143"/>
              <a:gd name="connsiteX8" fmla="*/ 3089518 w 3209544"/>
              <a:gd name="connsiteY8" fmla="*/ 720143 h 720143"/>
              <a:gd name="connsiteX9" fmla="*/ 120026 w 3209544"/>
              <a:gd name="connsiteY9" fmla="*/ 720143 h 720143"/>
              <a:gd name="connsiteX10" fmla="*/ 35155 w 3209544"/>
              <a:gd name="connsiteY10" fmla="*/ 684988 h 720143"/>
              <a:gd name="connsiteX11" fmla="*/ 0 w 3209544"/>
              <a:gd name="connsiteY11" fmla="*/ 600117 h 720143"/>
              <a:gd name="connsiteX12" fmla="*/ 0 w 3209544"/>
              <a:gd name="connsiteY12" fmla="*/ 120026 h 7201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209544" h="720143">
                <a:moveTo>
                  <a:pt x="0" y="120026"/>
                </a:moveTo>
                <a:cubicBezTo>
                  <a:pt x="0" y="88193"/>
                  <a:pt x="12646" y="57664"/>
                  <a:pt x="35155" y="35155"/>
                </a:cubicBezTo>
                <a:cubicBezTo>
                  <a:pt x="57664" y="12646"/>
                  <a:pt x="88193" y="0"/>
                  <a:pt x="120026" y="0"/>
                </a:cubicBezTo>
                <a:lnTo>
                  <a:pt x="3089518" y="0"/>
                </a:lnTo>
                <a:cubicBezTo>
                  <a:pt x="3121351" y="0"/>
                  <a:pt x="3151880" y="12646"/>
                  <a:pt x="3174389" y="35155"/>
                </a:cubicBezTo>
                <a:cubicBezTo>
                  <a:pt x="3196898" y="57664"/>
                  <a:pt x="3209544" y="88193"/>
                  <a:pt x="3209544" y="120026"/>
                </a:cubicBezTo>
                <a:lnTo>
                  <a:pt x="3209544" y="600117"/>
                </a:lnTo>
                <a:cubicBezTo>
                  <a:pt x="3209544" y="631950"/>
                  <a:pt x="3196898" y="662479"/>
                  <a:pt x="3174389" y="684988"/>
                </a:cubicBezTo>
                <a:cubicBezTo>
                  <a:pt x="3151880" y="707497"/>
                  <a:pt x="3121351" y="720143"/>
                  <a:pt x="3089518" y="720143"/>
                </a:cubicBezTo>
                <a:lnTo>
                  <a:pt x="120026" y="720143"/>
                </a:lnTo>
                <a:cubicBezTo>
                  <a:pt x="88193" y="720143"/>
                  <a:pt x="57664" y="707497"/>
                  <a:pt x="35155" y="684988"/>
                </a:cubicBezTo>
                <a:cubicBezTo>
                  <a:pt x="12646" y="662479"/>
                  <a:pt x="0" y="631950"/>
                  <a:pt x="0" y="600117"/>
                </a:cubicBezTo>
                <a:lnTo>
                  <a:pt x="0" y="120026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7064" tIns="56109" rIns="77064" bIns="56109" numCol="1" spcCol="1270" anchor="ctr" anchorCtr="0">
            <a:noAutofit/>
          </a:bodyPr>
          <a:lstStyle/>
          <a:p>
            <a:pPr marL="8255" algn="ctr" rtl="1">
              <a:lnSpc>
                <a:spcPct val="107000"/>
              </a:lnSpc>
              <a:spcAft>
                <a:spcPts val="0"/>
              </a:spcAft>
            </a:pPr>
            <a:r>
              <a:rPr lang="ar-MA" sz="1800" b="0" kern="0" dirty="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تفعيل أليات و وسائل المواكبة</a:t>
            </a:r>
            <a:endParaRPr lang="en-US" sz="1800" b="0" kern="0" dirty="0">
              <a:solidFill>
                <a:schemeClr val="tx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92307628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32" grpId="0" animBg="1"/>
      <p:bldP spid="33" grpId="0" animBg="1"/>
      <p:bldP spid="35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98065"/>
            <a:ext cx="9906000" cy="492443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ar-SA" sz="2600" dirty="0">
                <a:solidFill>
                  <a:schemeClr val="bg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مخطط تفعيل الاستراتيجية الجديدة للتكوين لفائدة الجماعات الترابية 1/5 </a:t>
            </a:r>
            <a:endParaRPr lang="fr-FR" sz="2600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5D599E08-B92B-9A7F-3250-56DB33CE0940}"/>
              </a:ext>
            </a:extLst>
          </p:cNvPr>
          <p:cNvSpPr txBox="1"/>
          <p:nvPr/>
        </p:nvSpPr>
        <p:spPr>
          <a:xfrm>
            <a:off x="7869861" y="1316112"/>
            <a:ext cx="936000" cy="478913"/>
          </a:xfrm>
          <a:prstGeom prst="rect">
            <a:avLst/>
          </a:prstGeom>
          <a:solidFill>
            <a:srgbClr val="FFE593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ctr" defTabSz="914288" eaLnBrk="1" latinLnBrk="0" hangingPunct="1">
              <a:lnSpc>
                <a:spcPct val="90000"/>
              </a:lnSpc>
              <a:spcBef>
                <a:spcPts val="400"/>
              </a:spcBef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142" defTabSz="914288" eaLnBrk="1" latinLnBrk="0" hangingPunct="1">
              <a:defRPr sz="1800">
                <a:latin typeface="+mn-lt"/>
              </a:defRPr>
            </a:lvl2pPr>
            <a:lvl3pPr marL="914288" defTabSz="914288" eaLnBrk="1" latinLnBrk="0" hangingPunct="1">
              <a:defRPr sz="1800">
                <a:latin typeface="+mn-lt"/>
              </a:defRPr>
            </a:lvl3pPr>
            <a:lvl4pPr marL="1371430" defTabSz="914288" eaLnBrk="1" latinLnBrk="0" hangingPunct="1">
              <a:defRPr sz="1800">
                <a:latin typeface="+mn-lt"/>
              </a:defRPr>
            </a:lvl4pPr>
            <a:lvl5pPr marL="1828574" defTabSz="914288" eaLnBrk="1" latinLnBrk="0" hangingPunct="1">
              <a:defRPr sz="1800">
                <a:latin typeface="+mn-lt"/>
              </a:defRPr>
            </a:lvl5pPr>
            <a:lvl6pPr marL="2285715" defTabSz="914288">
              <a:defRPr sz="1800">
                <a:latin typeface="+mn-lt"/>
              </a:defRPr>
            </a:lvl6pPr>
            <a:lvl7pPr marL="2742857" defTabSz="914288">
              <a:defRPr sz="1800">
                <a:latin typeface="+mn-lt"/>
              </a:defRPr>
            </a:lvl7pPr>
            <a:lvl8pPr marL="3200000" defTabSz="914288">
              <a:defRPr sz="1800">
                <a:latin typeface="+mn-lt"/>
              </a:defRPr>
            </a:lvl8pPr>
            <a:lvl9pPr marL="3657143" defTabSz="914288">
              <a:defRPr sz="1800">
                <a:latin typeface="+mn-lt"/>
              </a:defRPr>
            </a:lvl9pPr>
          </a:lstStyle>
          <a:p>
            <a:pPr fontAlgn="base">
              <a:spcAft>
                <a:spcPct val="0"/>
              </a:spcAft>
              <a:defRPr/>
            </a:pPr>
            <a:r>
              <a:rPr lang="ar-MA" sz="1056" dirty="0">
                <a:solidFill>
                  <a:sysClr val="windowText" lastClr="000000"/>
                </a:solidFill>
              </a:rPr>
              <a:t>الأهداف</a:t>
            </a:r>
            <a:endParaRPr lang="fr-FR" sz="1056" dirty="0">
              <a:solidFill>
                <a:sysClr val="windowText" lastClr="000000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2239BB8F-7B67-C6B6-6E0A-DC275CCFFBD8}"/>
              </a:ext>
            </a:extLst>
          </p:cNvPr>
          <p:cNvSpPr/>
          <p:nvPr/>
        </p:nvSpPr>
        <p:spPr bwMode="auto">
          <a:xfrm>
            <a:off x="1226913" y="1309828"/>
            <a:ext cx="6458254" cy="485198"/>
          </a:xfrm>
          <a:prstGeom prst="rect">
            <a:avLst/>
          </a:prstGeom>
          <a:solidFill>
            <a:schemeClr val="bg1">
              <a:lumMod val="95000"/>
              <a:alpha val="84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74295" tIns="37148" rIns="74295" bIns="37148" numCol="1" rtlCol="0" anchor="ctr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marL="0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42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88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30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74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15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57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00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43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9303" indent="-139303" algn="r" rtl="1">
              <a:lnSpc>
                <a:spcPts val="1138"/>
              </a:lnSpc>
              <a:spcBef>
                <a:spcPts val="163"/>
              </a:spcBef>
              <a:buFont typeface="Arial" panose="020B0604020202020204" pitchFamily="34" charset="0"/>
              <a:buChar char="•"/>
              <a:defRPr/>
            </a:pPr>
            <a:r>
              <a:rPr lang="ar-MA" sz="975" dirty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دعم الجهات في وضع برامج تكوينية </a:t>
            </a:r>
          </a:p>
          <a:p>
            <a:pPr marL="139303" indent="-139303" algn="r" rtl="1">
              <a:lnSpc>
                <a:spcPts val="1138"/>
              </a:lnSpc>
              <a:spcBef>
                <a:spcPts val="163"/>
              </a:spcBef>
              <a:buFont typeface="Arial" panose="020B0604020202020204" pitchFamily="34" charset="0"/>
              <a:buChar char="•"/>
              <a:defRPr/>
            </a:pPr>
            <a:r>
              <a:rPr lang="ar-MA" sz="1000" kern="0" dirty="0">
                <a:cs typeface="Calibri" panose="020F0502020204030204" pitchFamily="34" charset="0"/>
              </a:rPr>
              <a:t>استجابة للحاجيات الجماعات الترابية فيما يخص  التكوين الأولي و أسلاك المختصة </a:t>
            </a:r>
            <a:endParaRPr lang="fr-FR" sz="975" dirty="0">
              <a:solidFill>
                <a:prstClr val="black"/>
              </a:solidFill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28" name="Tableau 27">
            <a:extLst>
              <a:ext uri="{FF2B5EF4-FFF2-40B4-BE49-F238E27FC236}">
                <a16:creationId xmlns:a16="http://schemas.microsoft.com/office/drawing/2014/main" id="{E9452E64-8D15-D017-A924-CD7352B2604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1568608"/>
              </p:ext>
            </p:extLst>
          </p:nvPr>
        </p:nvGraphicFramePr>
        <p:xfrm>
          <a:off x="1226912" y="841512"/>
          <a:ext cx="7546655" cy="409389"/>
        </p:xfrm>
        <a:graphic>
          <a:graphicData uri="http://schemas.openxmlformats.org/drawingml/2006/table">
            <a:tbl>
              <a:tblPr/>
              <a:tblGrid>
                <a:gridCol w="15093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0933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0933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0933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0933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09389">
                <a:tc>
                  <a:txBody>
                    <a:bodyPr/>
                    <a:lstStyle/>
                    <a:p>
                      <a:pPr marL="8255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فعيل أليات و وسائل المواكبة</a:t>
                      </a:r>
                      <a:endParaRPr lang="en-US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indent="8255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طوير العرض التكويني و منظومة التتبع</a:t>
                      </a:r>
                      <a:endParaRPr lang="en-US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indent="8255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وضع نظام حكامة جديد للتكوين</a:t>
                      </a:r>
                      <a:endParaRPr lang="en-US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8255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ملاءمة الإطار القانوني والتنظيمي</a:t>
                      </a:r>
                      <a:endParaRPr lang="en-US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8255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900" b="1" kern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دبير  المرحلة الانتقالية</a:t>
                      </a:r>
                      <a:endParaRPr lang="en-US" sz="900" b="1" kern="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9" name="Espace réservé du contenu 17">
            <a:extLst>
              <a:ext uri="{FF2B5EF4-FFF2-40B4-BE49-F238E27FC236}">
                <a16:creationId xmlns:a16="http://schemas.microsoft.com/office/drawing/2014/main" id="{3BBD20CA-2DD8-75E7-0142-1D1489E665D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93262164"/>
              </p:ext>
            </p:extLst>
          </p:nvPr>
        </p:nvGraphicFramePr>
        <p:xfrm>
          <a:off x="683382" y="2030492"/>
          <a:ext cx="8539235" cy="4287850"/>
        </p:xfrm>
        <a:graphic>
          <a:graphicData uri="http://schemas.openxmlformats.org/drawingml/2006/table">
            <a:tbl>
              <a:tblPr firstRow="1">
                <a:tableStyleId>{B301B821-A1FF-4177-AEE7-76D212191A09}</a:tableStyleId>
              </a:tblPr>
              <a:tblGrid>
                <a:gridCol w="11331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9574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2685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73352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549966">
                  <a:extLst>
                    <a:ext uri="{9D8B030D-6E8A-4147-A177-3AD203B41FA5}">
                      <a16:colId xmlns:a16="http://schemas.microsoft.com/office/drawing/2014/main" val="2795007860"/>
                    </a:ext>
                  </a:extLst>
                </a:gridCol>
              </a:tblGrid>
              <a:tr h="342613"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626870" algn="l"/>
                        </a:tabLst>
                        <a:defRPr/>
                      </a:pPr>
                      <a:r>
                        <a:rPr lang="ar-MA" sz="12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تطلبات الأساسية</a:t>
                      </a:r>
                      <a:endParaRPr lang="fr-FR" sz="12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626870" algn="l"/>
                        </a:tabLst>
                        <a:defRPr/>
                      </a:pPr>
                      <a:r>
                        <a:rPr lang="ar-MA" sz="12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تدخلين </a:t>
                      </a:r>
                      <a:endParaRPr lang="fr-FR" sz="12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626870" algn="l"/>
                        </a:tabLst>
                        <a:defRPr/>
                      </a:pPr>
                      <a:r>
                        <a:rPr lang="ar-MA" sz="12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مؤشرات الأداء</a:t>
                      </a:r>
                      <a:endParaRPr lang="fr-FR" sz="12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626870" algn="l"/>
                        </a:tabLst>
                        <a:defRPr/>
                      </a:pPr>
                      <a:r>
                        <a:rPr lang="ar-MA" sz="12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عمليات  الرئيسية</a:t>
                      </a:r>
                      <a:endParaRPr lang="fr-FR" sz="12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626870" algn="l"/>
                        </a:tabLst>
                        <a:defRPr/>
                      </a:pPr>
                      <a:r>
                        <a:rPr lang="ar-MA" sz="12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شاريع </a:t>
                      </a:r>
                      <a:endParaRPr lang="fr-FR" sz="12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17190">
                <a:tc>
                  <a:txBody>
                    <a:bodyPr/>
                    <a:lstStyle/>
                    <a:p>
                      <a:pPr marL="171450" indent="-171450" algn="just" defTabSz="914400" rtl="1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صادقة على مخرجات الدراسة</a:t>
                      </a:r>
                      <a:endParaRPr lang="fr-FR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171450" marR="0" lvl="0" indent="-171450" algn="just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إحداث مجموعة عمل مشتركة</a:t>
                      </a: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2550" indent="-82550" algn="r" defTabSz="914400" rtl="1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Font typeface="Arial" pitchFamily="34" charset="0"/>
                        <a:buChar char="•"/>
                      </a:pPr>
                      <a:r>
                        <a:rPr lang="ar-S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جمعية جهات المغرب</a:t>
                      </a:r>
                      <a:endParaRPr lang="fr-FR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82550" indent="-82550" algn="r" defTabSz="914400" rtl="1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Font typeface="Arial" pitchFamily="34" charset="0"/>
                        <a:buChar char="•"/>
                      </a:pPr>
                      <a:r>
                        <a:rPr lang="ar-S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جمعية المغربية لرؤساء المجالس الجماعية</a:t>
                      </a:r>
                      <a:endParaRPr lang="ar-MA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82550" marR="0" lvl="0" indent="-82550" algn="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</a:t>
                      </a:r>
                      <a:r>
                        <a:rPr lang="ar-S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لجمعية المغربية لرؤساء مجالس العمالات و الأقاليم</a:t>
                      </a:r>
                      <a:endParaRPr lang="ar-MA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82550" marR="0" lvl="0" indent="-82550" algn="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ديرية العامة للجماعات الترابية</a:t>
                      </a:r>
                      <a:endParaRPr lang="en-US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2550" indent="-82550" algn="r" defTabSz="914400" rtl="1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Font typeface="Arial" pitchFamily="34" charset="0"/>
                        <a:buChar char="•"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عدد أيام التحسيسية المنجزة</a:t>
                      </a:r>
                      <a:endParaRPr lang="en-US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1" indent="-171450" algn="just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إشراك</a:t>
                      </a: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جمعيات منتخبي الجماعات الترابية في </a:t>
                      </a: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وضع مقومات تفعيل الاستراتيجية</a:t>
                      </a: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 الجديدة </a:t>
                      </a:r>
                      <a:endParaRPr lang="fr-FR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171450" marR="0" lvl="0" indent="-171450" algn="just" defTabSz="914400" rtl="1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إحداث مجموعة عمل مشتركة مكلفة بتدبير المرحلة الانتقالية بشراكة مع </a:t>
                      </a:r>
                      <a:r>
                        <a:rPr lang="ar-S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جمعية جهات المغرب</a:t>
                      </a: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endParaRPr lang="en-US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171450" marR="0" lvl="1" indent="-171450" algn="just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نظيم أيام تحسيسية لفائدة منتخبي الجماعات الترابية </a:t>
                      </a:r>
                      <a:endParaRPr lang="fr-FR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626870" algn="l"/>
                        </a:tabLst>
                        <a:defRPr/>
                      </a:pPr>
                      <a:r>
                        <a:rPr lang="ar-MA" sz="11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1.1- إحداث خلية مؤسساتية لتتبع تفعيل استراتيجية التكوين</a:t>
                      </a:r>
                      <a:endParaRPr lang="en-US" sz="11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47887">
                <a:tc>
                  <a:txBody>
                    <a:bodyPr/>
                    <a:lstStyle/>
                    <a:p>
                      <a:pPr marL="171450" indent="-171450" algn="just" defTabSz="914400" rtl="1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عديل الإطار القانوني</a:t>
                      </a: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r" rtl="1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ديرية العامة للجماعات الترابية</a:t>
                      </a:r>
                      <a:endParaRPr lang="fr-FR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171450" indent="-171450" algn="r" rtl="1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معاهد التكوين التابعة للوزارة الداخلية</a:t>
                      </a:r>
                      <a:endParaRPr lang="fr-FR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2550" marR="0" lvl="0" indent="-82550" algn="just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عدد المسارات التكوينية  الجديدة</a:t>
                      </a:r>
                      <a:endParaRPr lang="fr-FR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82550" indent="-82550" algn="just" defTabSz="914400" rtl="1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Font typeface="Arial" pitchFamily="34" charset="0"/>
                        <a:buChar char="•"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عدد المستفيدين من التكوين </a:t>
                      </a:r>
                      <a:endParaRPr lang="fr-FR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1" indent="-171450" algn="just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أهيل معاهد التكوين الأولي  التابعة للوزارة الداخلية</a:t>
                      </a:r>
                    </a:p>
                    <a:p>
                      <a:pPr marL="171450" marR="0" lvl="1" indent="-171450" algn="just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طوير  و تعزيز العرض التكويني</a:t>
                      </a:r>
                      <a:endParaRPr lang="en-US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626870" algn="l"/>
                        </a:tabLst>
                        <a:defRPr/>
                      </a:pPr>
                      <a:r>
                        <a:rPr lang="ar-MA" sz="11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1.2- تأهيل معاهد التكوين التابعة للوزارة الداخلية</a:t>
                      </a:r>
                      <a:endParaRPr lang="en-US" sz="11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280160">
                <a:tc>
                  <a:txBody>
                    <a:bodyPr/>
                    <a:lstStyle/>
                    <a:p>
                      <a:pPr marL="171450" indent="-171450" algn="just" defTabSz="914400" rtl="1" eaLnBrk="1" latinLnBrk="0" hangingPunct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واجد عرض تكويني يستجيب للحاجيات الجماعات الترابية</a:t>
                      </a:r>
                      <a:endParaRPr lang="fr-FR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2550" marR="0" lvl="0" indent="-82550" algn="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ديرية العامة للجماعات الترابية</a:t>
                      </a:r>
                    </a:p>
                    <a:p>
                      <a:pPr marL="82550" marR="0" lvl="0" indent="-82550" algn="just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جهات و الجماعات الترابية الأخرى</a:t>
                      </a: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2550" indent="-82550" algn="r" defTabSz="914400" rtl="1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Font typeface="Arial" pitchFamily="34" charset="0"/>
                        <a:buChar char="•"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أجل الإنجاز</a:t>
                      </a:r>
                    </a:p>
                    <a:p>
                      <a:pPr marL="82550" indent="-82550" algn="r" defTabSz="914400" rtl="1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Font typeface="Arial" pitchFamily="34" charset="0"/>
                        <a:buChar char="•"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عدد المسارات التكوينية المدمجة بالمنصة</a:t>
                      </a:r>
                    </a:p>
                    <a:p>
                      <a:pPr marL="82550" indent="-82550" algn="r" defTabSz="914400" rtl="1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Font typeface="Arial" pitchFamily="34" charset="0"/>
                        <a:buChar char="•"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عدد المستفيدين من التكوين عن بعد</a:t>
                      </a:r>
                    </a:p>
                    <a:p>
                      <a:pPr marL="82550" indent="-82550" algn="r" defTabSz="914400" rtl="1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Font typeface="Arial" pitchFamily="34" charset="0"/>
                        <a:buChar char="•"/>
                      </a:pPr>
                      <a:endParaRPr lang="fr-FR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914400" rtl="1" eaLnBrk="1" fontAlgn="auto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إنجاز منصة التكوين عن بعد</a:t>
                      </a:r>
                    </a:p>
                    <a:p>
                      <a:pPr marL="171450" marR="0" lvl="0" indent="-171450" algn="just" defTabSz="914400" rtl="1" eaLnBrk="1" fontAlgn="auto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دمج مضامين </a:t>
                      </a:r>
                      <a:r>
                        <a:rPr lang="ar-MA" sz="900" b="1" kern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مجزوءات</a:t>
                      </a: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التكوين</a:t>
                      </a:r>
                      <a:endParaRPr lang="en-US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171450" marR="0" lvl="0" indent="-171450" algn="just" defTabSz="914400" rtl="1" eaLnBrk="1" fontAlgn="auto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عميم منظومة تدبير التكوين عن بعد</a:t>
                      </a: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914400" rtl="1" eaLnBrk="1" fontAlgn="auto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11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1.3- تطوير منصة التكوين عن بعد</a:t>
                      </a:r>
                      <a:endParaRPr lang="en-US" sz="11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10" name="Image 9">
            <a:extLst>
              <a:ext uri="{FF2B5EF4-FFF2-40B4-BE49-F238E27FC236}">
                <a16:creationId xmlns:a16="http://schemas.microsoft.com/office/drawing/2014/main" id="{F75FC789-140B-5D28-8FBD-29819062B5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22617" y="115377"/>
            <a:ext cx="492903" cy="475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603970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27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61489"/>
            <a:ext cx="9906000" cy="492443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ar-SA" sz="2600" dirty="0">
                <a:solidFill>
                  <a:schemeClr val="bg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مخطط تفعيل الاستراتيجية الجديدة للتكوين لفائدة الجماعات الترابية 2/5</a:t>
            </a:r>
            <a:endParaRPr lang="fr-FR" sz="2600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110CCFE9-0A53-BA76-3346-7FE17F2A72AC}"/>
              </a:ext>
            </a:extLst>
          </p:cNvPr>
          <p:cNvSpPr txBox="1"/>
          <p:nvPr/>
        </p:nvSpPr>
        <p:spPr>
          <a:xfrm>
            <a:off x="7834360" y="1462102"/>
            <a:ext cx="928967" cy="478913"/>
          </a:xfrm>
          <a:prstGeom prst="rect">
            <a:avLst/>
          </a:prstGeom>
          <a:solidFill>
            <a:srgbClr val="FFE593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ctr" defTabSz="914288" eaLnBrk="1" latinLnBrk="0" hangingPunct="1">
              <a:lnSpc>
                <a:spcPct val="90000"/>
              </a:lnSpc>
              <a:spcBef>
                <a:spcPts val="400"/>
              </a:spcBef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142" defTabSz="914288" eaLnBrk="1" latinLnBrk="0" hangingPunct="1">
              <a:defRPr sz="1800">
                <a:latin typeface="+mn-lt"/>
              </a:defRPr>
            </a:lvl2pPr>
            <a:lvl3pPr marL="914288" defTabSz="914288" eaLnBrk="1" latinLnBrk="0" hangingPunct="1">
              <a:defRPr sz="1800">
                <a:latin typeface="+mn-lt"/>
              </a:defRPr>
            </a:lvl3pPr>
            <a:lvl4pPr marL="1371430" defTabSz="914288" eaLnBrk="1" latinLnBrk="0" hangingPunct="1">
              <a:defRPr sz="1800">
                <a:latin typeface="+mn-lt"/>
              </a:defRPr>
            </a:lvl4pPr>
            <a:lvl5pPr marL="1828574" defTabSz="914288" eaLnBrk="1" latinLnBrk="0" hangingPunct="1">
              <a:defRPr sz="1800">
                <a:latin typeface="+mn-lt"/>
              </a:defRPr>
            </a:lvl5pPr>
            <a:lvl6pPr marL="2285715" defTabSz="914288">
              <a:defRPr sz="1800">
                <a:latin typeface="+mn-lt"/>
              </a:defRPr>
            </a:lvl6pPr>
            <a:lvl7pPr marL="2742857" defTabSz="914288">
              <a:defRPr sz="1800">
                <a:latin typeface="+mn-lt"/>
              </a:defRPr>
            </a:lvl7pPr>
            <a:lvl8pPr marL="3200000" defTabSz="914288">
              <a:defRPr sz="1800">
                <a:latin typeface="+mn-lt"/>
              </a:defRPr>
            </a:lvl8pPr>
            <a:lvl9pPr marL="3657143" defTabSz="914288">
              <a:defRPr sz="1800">
                <a:latin typeface="+mn-lt"/>
              </a:defRPr>
            </a:lvl9pPr>
          </a:lstStyle>
          <a:p>
            <a:pPr fontAlgn="base">
              <a:spcAft>
                <a:spcPct val="0"/>
              </a:spcAft>
              <a:defRPr/>
            </a:pPr>
            <a:r>
              <a:rPr lang="ar-MA" sz="1056" dirty="0">
                <a:solidFill>
                  <a:sysClr val="windowText" lastClr="000000"/>
                </a:solidFill>
              </a:rPr>
              <a:t>الأهداف</a:t>
            </a:r>
            <a:endParaRPr lang="fr-FR" sz="1056" dirty="0">
              <a:solidFill>
                <a:sysClr val="windowText" lastClr="000000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B7504A0-612F-07CD-88A8-93A4F5851F7F}"/>
              </a:ext>
            </a:extLst>
          </p:cNvPr>
          <p:cNvSpPr/>
          <p:nvPr/>
        </p:nvSpPr>
        <p:spPr bwMode="auto">
          <a:xfrm>
            <a:off x="1275436" y="1455818"/>
            <a:ext cx="6409730" cy="485198"/>
          </a:xfrm>
          <a:prstGeom prst="rect">
            <a:avLst/>
          </a:prstGeom>
          <a:solidFill>
            <a:schemeClr val="bg1">
              <a:lumMod val="95000"/>
              <a:alpha val="84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74295" tIns="37148" rIns="74295" bIns="37148" numCol="1" rtlCol="0" anchor="ctr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marL="0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42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88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30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74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15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57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00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43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9303" indent="-139303" algn="r" rtl="1">
              <a:lnSpc>
                <a:spcPts val="1138"/>
              </a:lnSpc>
              <a:spcBef>
                <a:spcPts val="163"/>
              </a:spcBef>
              <a:buFont typeface="Arial" panose="020B0604020202020204" pitchFamily="34" charset="0"/>
              <a:buChar char="•"/>
              <a:defRPr/>
            </a:pPr>
            <a:r>
              <a:rPr lang="ar-MA" sz="1000" kern="0" dirty="0">
                <a:cs typeface="Calibri" panose="020F0502020204030204" pitchFamily="34" charset="0"/>
              </a:rPr>
              <a:t>تعديل  الإطار القانوني والتنظيمي في اتجاه </a:t>
            </a:r>
            <a:r>
              <a:rPr lang="ar-MA" sz="975" dirty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دعم توصيات الممارسات الجيدة في ميدان التكوين </a:t>
            </a:r>
          </a:p>
          <a:p>
            <a:pPr marL="139303" indent="-139303" algn="r" rtl="1">
              <a:lnSpc>
                <a:spcPts val="1138"/>
              </a:lnSpc>
              <a:spcBef>
                <a:spcPts val="163"/>
              </a:spcBef>
              <a:buFont typeface="Arial" panose="020B0604020202020204" pitchFamily="34" charset="0"/>
              <a:buChar char="•"/>
              <a:defRPr/>
            </a:pPr>
            <a:r>
              <a:rPr lang="ar-MA" sz="1000" kern="0" dirty="0">
                <a:cs typeface="Calibri" panose="020F0502020204030204" pitchFamily="34" charset="0"/>
              </a:rPr>
              <a:t>العمل على دمج التكوين بمنظومة تدبير الموارد البشرية</a:t>
            </a:r>
            <a:endParaRPr lang="fr-FR" sz="975" dirty="0">
              <a:solidFill>
                <a:prstClr val="black"/>
              </a:solidFill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12" name="Tableau 11">
            <a:extLst>
              <a:ext uri="{FF2B5EF4-FFF2-40B4-BE49-F238E27FC236}">
                <a16:creationId xmlns:a16="http://schemas.microsoft.com/office/drawing/2014/main" id="{0837FD56-3B56-1019-D152-3347A2AFF02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6550512"/>
              </p:ext>
            </p:extLst>
          </p:nvPr>
        </p:nvGraphicFramePr>
        <p:xfrm>
          <a:off x="1283612" y="987502"/>
          <a:ext cx="7489955" cy="409389"/>
        </p:xfrm>
        <a:graphic>
          <a:graphicData uri="http://schemas.openxmlformats.org/drawingml/2006/table">
            <a:tbl>
              <a:tblPr/>
              <a:tblGrid>
                <a:gridCol w="14979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9799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9799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9799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9799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09389">
                <a:tc>
                  <a:txBody>
                    <a:bodyPr/>
                    <a:lstStyle/>
                    <a:p>
                      <a:pPr marL="8255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فعيل أليات و وسائل المواكبة</a:t>
                      </a:r>
                      <a:endParaRPr lang="en-US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8255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طوير العرض التكويني و منظومة التتبع</a:t>
                      </a:r>
                      <a:endParaRPr lang="en-US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8255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وضع نظام حكامة جديد للتكوين</a:t>
                      </a:r>
                      <a:endParaRPr lang="en-US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8255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900" b="1" kern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ملاءمة الإطار القانوني والتنظيمي</a:t>
                      </a:r>
                      <a:endParaRPr lang="en-US" sz="900" b="1" kern="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8255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دبير  المرحلة الانتقالية</a:t>
                      </a:r>
                      <a:endParaRPr lang="en-US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3" name="Espace réservé du contenu 17">
            <a:extLst>
              <a:ext uri="{FF2B5EF4-FFF2-40B4-BE49-F238E27FC236}">
                <a16:creationId xmlns:a16="http://schemas.microsoft.com/office/drawing/2014/main" id="{70005C90-77B5-6E1D-BA3D-932EEED757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94481084"/>
              </p:ext>
            </p:extLst>
          </p:nvPr>
        </p:nvGraphicFramePr>
        <p:xfrm>
          <a:off x="704088" y="2279973"/>
          <a:ext cx="8562039" cy="1829328"/>
        </p:xfrm>
        <a:graphic>
          <a:graphicData uri="http://schemas.openxmlformats.org/drawingml/2006/table">
            <a:tbl>
              <a:tblPr firstRow="1">
                <a:tableStyleId>{B301B821-A1FF-4177-AEE7-76D212191A09}</a:tableStyleId>
              </a:tblPr>
              <a:tblGrid>
                <a:gridCol w="121158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8225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1689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71299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538320">
                  <a:extLst>
                    <a:ext uri="{9D8B030D-6E8A-4147-A177-3AD203B41FA5}">
                      <a16:colId xmlns:a16="http://schemas.microsoft.com/office/drawing/2014/main" val="2795007860"/>
                    </a:ext>
                  </a:extLst>
                </a:gridCol>
              </a:tblGrid>
              <a:tr h="345490"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626870" algn="l"/>
                        </a:tabLst>
                        <a:defRPr/>
                      </a:pPr>
                      <a:r>
                        <a:rPr lang="ar-MA" sz="12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تطلبات الأساسية</a:t>
                      </a:r>
                      <a:endParaRPr lang="fr-FR" sz="12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626870" algn="l"/>
                        </a:tabLst>
                        <a:defRPr/>
                      </a:pPr>
                      <a:r>
                        <a:rPr lang="ar-MA" sz="12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تدخلين </a:t>
                      </a:r>
                      <a:endParaRPr lang="fr-FR" sz="12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626870" algn="l"/>
                        </a:tabLst>
                        <a:defRPr/>
                      </a:pPr>
                      <a:r>
                        <a:rPr lang="ar-MA" sz="12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مؤشرات الأداء</a:t>
                      </a:r>
                      <a:endParaRPr lang="fr-FR" sz="12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626870" algn="l"/>
                        </a:tabLst>
                        <a:defRPr/>
                      </a:pPr>
                      <a:r>
                        <a:rPr lang="ar-MA" sz="12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عمليات  الرئيسية</a:t>
                      </a:r>
                      <a:endParaRPr lang="fr-FR" sz="12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626870" algn="l"/>
                        </a:tabLst>
                        <a:defRPr/>
                      </a:pPr>
                      <a:r>
                        <a:rPr lang="ar-MA" sz="12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شاريع </a:t>
                      </a:r>
                      <a:endParaRPr lang="fr-FR" sz="12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83838">
                <a:tc>
                  <a:txBody>
                    <a:bodyPr/>
                    <a:lstStyle/>
                    <a:p>
                      <a:pPr marL="82550" indent="-82550" algn="just" defTabSz="914400" rtl="1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Font typeface="Arial" pitchFamily="34" charset="0"/>
                        <a:buChar char="•"/>
                      </a:pP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عديل القانون التنظيمي للجهات و النظام الأساسي للموظفي الجماعات الترابية</a:t>
                      </a:r>
                      <a:endParaRPr lang="fr-FR" sz="900" kern="12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lt"/>
                        <a:ea typeface="Times New Roman"/>
                        <a:cs typeface="Calibri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2550" marR="0" lvl="0" indent="-82550" algn="just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ديرية العامة للجماعات الترابية</a:t>
                      </a:r>
                    </a:p>
                    <a:p>
                      <a:pPr marL="82550" marR="0" lvl="0" indent="-82550" algn="just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S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جمعية جهات المغرب</a:t>
                      </a:r>
                      <a:endParaRPr lang="fr-FR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just" defTabSz="914400" rtl="1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إدماج مقترحات تعديل  بالقوانين التنظيمية </a:t>
                      </a:r>
                      <a:r>
                        <a:rPr lang="ar-MA" sz="900" b="1" kern="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والمراسبم</a:t>
                      </a:r>
                      <a:endParaRPr lang="en-US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إدماج مقترحات تعديل الإطار القانوني الحالي الخاص بتدبير الموارد البشرية و التكوين </a:t>
                      </a:r>
                    </a:p>
                    <a:p>
                      <a:pPr marL="171450" marR="0" lvl="0" indent="-171450" algn="just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مأسسة أليات تمويل منظومة التكوين  لفائدة الموارد البشرية </a:t>
                      </a:r>
                      <a:endParaRPr lang="en-US" sz="900" b="1" kern="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626870" algn="l"/>
                        </a:tabLst>
                        <a:defRPr/>
                      </a:pPr>
                      <a:r>
                        <a:rPr lang="ar-MA" sz="11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2.1- </a:t>
                      </a:r>
                      <a:r>
                        <a:rPr lang="ar-MA" sz="11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حديد المهام و المسؤولية الجهة و سبل تمويل المنظومة التكوين الجديدة (في إطار القوانين التنظيمية)</a:t>
                      </a:r>
                      <a:endParaRPr lang="en-US" sz="11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14" name="Image 13">
            <a:extLst>
              <a:ext uri="{FF2B5EF4-FFF2-40B4-BE49-F238E27FC236}">
                <a16:creationId xmlns:a16="http://schemas.microsoft.com/office/drawing/2014/main" id="{F75FC789-140B-5D28-8FBD-29819062B5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22617" y="115377"/>
            <a:ext cx="492903" cy="475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947492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98065"/>
            <a:ext cx="9906000" cy="492443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ar-SA" sz="2600" dirty="0">
                <a:solidFill>
                  <a:schemeClr val="bg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مخطط تفعيل الاستراتيجية الجديدة للتكوين لفائدة الجماعات الترابية 3/5</a:t>
            </a:r>
            <a:endParaRPr lang="fr-FR" sz="2600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6DFA0777-8867-6A28-36E6-B10ADBD2990D}"/>
              </a:ext>
            </a:extLst>
          </p:cNvPr>
          <p:cNvSpPr txBox="1"/>
          <p:nvPr/>
        </p:nvSpPr>
        <p:spPr>
          <a:xfrm>
            <a:off x="7869861" y="1281349"/>
            <a:ext cx="936000" cy="478913"/>
          </a:xfrm>
          <a:prstGeom prst="rect">
            <a:avLst/>
          </a:prstGeom>
          <a:solidFill>
            <a:srgbClr val="FFE593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ctr" defTabSz="914288" eaLnBrk="1" latinLnBrk="0" hangingPunct="1">
              <a:lnSpc>
                <a:spcPct val="90000"/>
              </a:lnSpc>
              <a:spcBef>
                <a:spcPts val="400"/>
              </a:spcBef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142" defTabSz="914288" eaLnBrk="1" latinLnBrk="0" hangingPunct="1">
              <a:defRPr sz="1800">
                <a:latin typeface="+mn-lt"/>
              </a:defRPr>
            </a:lvl2pPr>
            <a:lvl3pPr marL="914288" defTabSz="914288" eaLnBrk="1" latinLnBrk="0" hangingPunct="1">
              <a:defRPr sz="1800">
                <a:latin typeface="+mn-lt"/>
              </a:defRPr>
            </a:lvl3pPr>
            <a:lvl4pPr marL="1371430" defTabSz="914288" eaLnBrk="1" latinLnBrk="0" hangingPunct="1">
              <a:defRPr sz="1800">
                <a:latin typeface="+mn-lt"/>
              </a:defRPr>
            </a:lvl4pPr>
            <a:lvl5pPr marL="1828574" defTabSz="914288" eaLnBrk="1" latinLnBrk="0" hangingPunct="1">
              <a:defRPr sz="1800">
                <a:latin typeface="+mn-lt"/>
              </a:defRPr>
            </a:lvl5pPr>
            <a:lvl6pPr marL="2285715" defTabSz="914288">
              <a:defRPr sz="1800">
                <a:latin typeface="+mn-lt"/>
              </a:defRPr>
            </a:lvl6pPr>
            <a:lvl7pPr marL="2742857" defTabSz="914288">
              <a:defRPr sz="1800">
                <a:latin typeface="+mn-lt"/>
              </a:defRPr>
            </a:lvl7pPr>
            <a:lvl8pPr marL="3200000" defTabSz="914288">
              <a:defRPr sz="1800">
                <a:latin typeface="+mn-lt"/>
              </a:defRPr>
            </a:lvl8pPr>
            <a:lvl9pPr marL="3657143" defTabSz="914288">
              <a:defRPr sz="1800">
                <a:latin typeface="+mn-lt"/>
              </a:defRPr>
            </a:lvl9pPr>
          </a:lstStyle>
          <a:p>
            <a:pPr fontAlgn="base">
              <a:spcAft>
                <a:spcPct val="0"/>
              </a:spcAft>
              <a:defRPr/>
            </a:pPr>
            <a:r>
              <a:rPr lang="ar-MA" sz="1056" dirty="0">
                <a:solidFill>
                  <a:sysClr val="windowText" lastClr="000000"/>
                </a:solidFill>
              </a:rPr>
              <a:t>الأهداف</a:t>
            </a:r>
            <a:endParaRPr lang="fr-FR" sz="1056" dirty="0">
              <a:solidFill>
                <a:sysClr val="windowText" lastClr="000000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A97D3E3-CA19-5D98-1D40-79009F60935C}"/>
              </a:ext>
            </a:extLst>
          </p:cNvPr>
          <p:cNvSpPr/>
          <p:nvPr/>
        </p:nvSpPr>
        <p:spPr bwMode="auto">
          <a:xfrm>
            <a:off x="1226913" y="1275065"/>
            <a:ext cx="6458254" cy="485198"/>
          </a:xfrm>
          <a:prstGeom prst="rect">
            <a:avLst/>
          </a:prstGeom>
          <a:solidFill>
            <a:schemeClr val="bg1">
              <a:lumMod val="95000"/>
              <a:alpha val="84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74295" tIns="37148" rIns="74295" bIns="37148" numCol="1" rtlCol="0" anchor="ctr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marL="0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42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88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30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74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15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57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00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43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 algn="r" rtl="1">
              <a:lnSpc>
                <a:spcPts val="14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/>
            </a:pPr>
            <a:r>
              <a:rPr lang="ar-MA" sz="1000" kern="0" dirty="0">
                <a:cs typeface="Calibri" panose="020F0502020204030204" pitchFamily="34" charset="0"/>
              </a:rPr>
              <a:t>وضع نظام حكامة جديد للتكوين يتلاءم و الاستراتيجية الجديدة للتكوين لفائدة الجماعة الترابية</a:t>
            </a:r>
            <a:endParaRPr lang="fr-FR" sz="1000" dirty="0">
              <a:solidFill>
                <a:prstClr val="black"/>
              </a:solidFill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16" name="Tableau 15">
            <a:extLst>
              <a:ext uri="{FF2B5EF4-FFF2-40B4-BE49-F238E27FC236}">
                <a16:creationId xmlns:a16="http://schemas.microsoft.com/office/drawing/2014/main" id="{1A9E3213-4D24-4D78-EF35-60F2860C6DB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1651911"/>
              </p:ext>
            </p:extLst>
          </p:nvPr>
        </p:nvGraphicFramePr>
        <p:xfrm>
          <a:off x="1226912" y="806749"/>
          <a:ext cx="7546655" cy="409389"/>
        </p:xfrm>
        <a:graphic>
          <a:graphicData uri="http://schemas.openxmlformats.org/drawingml/2006/table">
            <a:tbl>
              <a:tblPr/>
              <a:tblGrid>
                <a:gridCol w="15093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0933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0933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0933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0933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09389">
                <a:tc>
                  <a:txBody>
                    <a:bodyPr/>
                    <a:lstStyle/>
                    <a:p>
                      <a:pPr marL="8255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فعيل أليات و وسائل المواكبة</a:t>
                      </a:r>
                      <a:endParaRPr lang="en-US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8255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طوير العرض التكويني و منظومة التتبع</a:t>
                      </a:r>
                      <a:endParaRPr lang="en-US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8255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900" b="1" kern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وضع نظام حكامة جديد للتكوين</a:t>
                      </a:r>
                      <a:endParaRPr lang="en-US" sz="900" b="1" kern="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8255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ملاءمة الإطار القانوني والتنظيمي</a:t>
                      </a:r>
                      <a:endParaRPr lang="en-US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8255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دبير  المرحلة الانتقالية</a:t>
                      </a:r>
                      <a:endParaRPr lang="en-US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7" name="Espace réservé du contenu 17">
            <a:extLst>
              <a:ext uri="{FF2B5EF4-FFF2-40B4-BE49-F238E27FC236}">
                <a16:creationId xmlns:a16="http://schemas.microsoft.com/office/drawing/2014/main" id="{09211D10-1EE2-CEBF-40BE-DFD830EE313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93654351"/>
              </p:ext>
            </p:extLst>
          </p:nvPr>
        </p:nvGraphicFramePr>
        <p:xfrm>
          <a:off x="356617" y="2007550"/>
          <a:ext cx="8685147" cy="3640215"/>
        </p:xfrm>
        <a:graphic>
          <a:graphicData uri="http://schemas.openxmlformats.org/drawingml/2006/table">
            <a:tbl>
              <a:tblPr firstRow="1">
                <a:tableStyleId>{B301B821-A1FF-4177-AEE7-76D212191A09}</a:tableStyleId>
              </a:tblPr>
              <a:tblGrid>
                <a:gridCol w="12984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8022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4959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78036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576523">
                  <a:extLst>
                    <a:ext uri="{9D8B030D-6E8A-4147-A177-3AD203B41FA5}">
                      <a16:colId xmlns:a16="http://schemas.microsoft.com/office/drawing/2014/main" val="2795007860"/>
                    </a:ext>
                  </a:extLst>
                </a:gridCol>
              </a:tblGrid>
              <a:tr h="379581"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626870" algn="l"/>
                        </a:tabLst>
                        <a:defRPr/>
                      </a:pPr>
                      <a:r>
                        <a:rPr lang="ar-MA" sz="12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تطلبات الأساسية</a:t>
                      </a:r>
                      <a:endParaRPr lang="fr-FR" sz="12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626870" algn="l"/>
                        </a:tabLst>
                        <a:defRPr/>
                      </a:pPr>
                      <a:r>
                        <a:rPr lang="ar-MA" sz="12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تدخلين </a:t>
                      </a:r>
                      <a:endParaRPr lang="fr-FR" sz="12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626870" algn="l"/>
                        </a:tabLst>
                        <a:defRPr/>
                      </a:pPr>
                      <a:r>
                        <a:rPr lang="ar-MA" sz="12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مؤشرات الأداء</a:t>
                      </a:r>
                      <a:endParaRPr lang="fr-FR" sz="12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626870" algn="l"/>
                        </a:tabLst>
                        <a:defRPr/>
                      </a:pPr>
                      <a:r>
                        <a:rPr lang="ar-MA" sz="12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عمليات  الرئيسية</a:t>
                      </a:r>
                      <a:endParaRPr lang="fr-FR" sz="12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626870" algn="l"/>
                        </a:tabLst>
                        <a:defRPr/>
                      </a:pPr>
                      <a:r>
                        <a:rPr lang="ar-MA" sz="12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شاريع </a:t>
                      </a:r>
                      <a:endParaRPr lang="fr-FR" sz="12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00458">
                <a:tc>
                  <a:txBody>
                    <a:bodyPr/>
                    <a:lstStyle/>
                    <a:p>
                      <a:pPr marL="171450" indent="-171450" algn="just" defTabSz="914400" rtl="1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عديل القانون التنظيمي للجهات و النظام الأساسي للموظفي الجماعات الترابية</a:t>
                      </a:r>
                      <a:endParaRPr lang="fr-FR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2550" marR="0" lvl="0" indent="-82550" algn="just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ديرية العامة للجماعات الترابية</a:t>
                      </a:r>
                    </a:p>
                    <a:p>
                      <a:pPr marL="82550" marR="0" lvl="0" indent="-82550" algn="just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جهات و الجماعات الترابية الأخرى</a:t>
                      </a:r>
                    </a:p>
                    <a:p>
                      <a:pPr marL="82550" marR="0" lvl="0" indent="-82550" algn="just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جمعيات</a:t>
                      </a: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الممثلة للمنتخبين</a:t>
                      </a:r>
                      <a:endParaRPr lang="fr-FR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2550" indent="-82550" algn="r" defTabSz="914400" rtl="1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Font typeface="Arial" pitchFamily="34" charset="0"/>
                        <a:buChar char="•"/>
                      </a:pPr>
                      <a:r>
                        <a:rPr lang="ar-MA" sz="8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آجال الإنجاز</a:t>
                      </a:r>
                      <a:endParaRPr lang="fr-FR" sz="8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دعم إحداث الهيأة ال</a:t>
                      </a: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وطنية للتوجيه في مجال التكوين وتدبير الموارد البشرية للجماعية الترابية</a:t>
                      </a:r>
                      <a:endParaRPr lang="en-US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171450" marR="0" lvl="0" indent="-171450" algn="just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إعداد  المقترحات المقدمة للهيأة </a:t>
                      </a:r>
                      <a:endParaRPr lang="fr-FR" sz="900" b="1" kern="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ar-MA" sz="11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3.1- إنشاء هيأة وطنية للتوجيه في مجال تدبير الموارد البشرية و التكوين</a:t>
                      </a:r>
                      <a:endParaRPr lang="en-US" sz="11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758160"/>
                  </a:ext>
                </a:extLst>
              </a:tr>
              <a:tr h="971251">
                <a:tc>
                  <a:txBody>
                    <a:bodyPr/>
                    <a:lstStyle/>
                    <a:p>
                      <a:pPr marL="171450" indent="-171450" algn="just" defTabSz="914400" rtl="1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نتهاء الدراسة حول الموارد البشرية الجهوية</a:t>
                      </a:r>
                      <a:endParaRPr lang="fr-FR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fr-FR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82550" marR="0" lvl="0" indent="-82550" algn="just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المديرية العامة للجماعات الترابية</a:t>
                      </a:r>
                    </a:p>
                    <a:p>
                      <a:pPr marL="82550" marR="0" lvl="0" indent="-82550" algn="just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جماعات الترابية</a:t>
                      </a:r>
                    </a:p>
                  </a:txBody>
                  <a:tcPr marL="29250" marR="292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2550" indent="-82550" algn="r" defTabSz="914400" rtl="1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Font typeface="Arial" pitchFamily="34" charset="0"/>
                        <a:buChar char="•"/>
                      </a:pPr>
                      <a:r>
                        <a:rPr lang="ar-MA" sz="8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آجال الإنجاز</a:t>
                      </a:r>
                      <a:endParaRPr lang="fr-FR" sz="8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773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إحداث و تفعيل مرصد المهن الجماعية </a:t>
                      </a:r>
                      <a:endParaRPr lang="fr-FR" sz="900" b="1" kern="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171450" marR="0" lvl="0" indent="-171450" algn="just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إنجاز دليل المهن الجماعية</a:t>
                      </a:r>
                    </a:p>
                    <a:p>
                      <a:pPr marL="171450" marR="0" lvl="0" indent="-171450" algn="just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إنجاز دراسات حول تطور  المهن الجماعية</a:t>
                      </a:r>
                    </a:p>
                  </a:txBody>
                  <a:tcPr marL="29250" marR="292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ar-MA" sz="11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3.2- إحداث مرصد المهن الجماعية </a:t>
                      </a:r>
                      <a:endParaRPr lang="fr-FR" sz="11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773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3200660"/>
                  </a:ext>
                </a:extLst>
              </a:tr>
              <a:tr h="1088925">
                <a:tc>
                  <a:txBody>
                    <a:bodyPr/>
                    <a:lstStyle/>
                    <a:p>
                      <a:pPr marL="171450" marR="0" lvl="0" indent="-171450" algn="just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فعيل مشروع إحداث</a:t>
                      </a: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الهيأة وطنية للتوجيه للموارد البشرية الجماعية و التكوين</a:t>
                      </a:r>
                    </a:p>
                    <a:p>
                      <a:pPr marL="171450" indent="-171450" algn="just" defTabSz="914400" rtl="1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endParaRPr lang="fr-FR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2550" marR="0" lvl="0" indent="-82550" algn="just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ديرية العامة للجماعات الترابية</a:t>
                      </a:r>
                    </a:p>
                    <a:p>
                      <a:pPr marL="82550" marR="0" lvl="0" indent="-82550" algn="just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S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جمعية جهات المغرب</a:t>
                      </a:r>
                      <a:endParaRPr lang="fr-FR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82550" marR="0" lvl="0" indent="-82550" algn="just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شركاء</a:t>
                      </a: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2550" indent="-82550" algn="r" defTabSz="914400" rtl="1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Font typeface="Arial" pitchFamily="34" charset="0"/>
                        <a:buChar char="•"/>
                      </a:pPr>
                      <a:r>
                        <a:rPr lang="ar-MA" sz="8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آجال الإنجاز</a:t>
                      </a:r>
                    </a:p>
                    <a:p>
                      <a:pPr marL="82550" indent="-82550" algn="r" defTabSz="914400" rtl="1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Font typeface="Arial" pitchFamily="34" charset="0"/>
                        <a:buChar char="•"/>
                      </a:pPr>
                      <a:r>
                        <a:rPr lang="ar-MA" sz="8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عدد أيام التكوين الفاعلين المحليين</a:t>
                      </a:r>
                      <a:endParaRPr lang="fr-FR" sz="8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إنجاز دليل  لدعم الجهات في مجال هندسة التكوين </a:t>
                      </a:r>
                    </a:p>
                    <a:p>
                      <a:pPr marL="171450" marR="0" lvl="0" indent="-171450" algn="just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وضع دليل للتكوين  على الصعيد الوطني و الجهوي</a:t>
                      </a:r>
                      <a:endParaRPr lang="fr-FR" sz="900" b="1" kern="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171450" marR="0" lvl="0" indent="-171450" algn="just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عزيز و تقوية  الفاعلين المحليين في مجال التكوين</a:t>
                      </a:r>
                      <a:endParaRPr lang="en-US" sz="900" b="1" kern="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1" eaLnBrk="1" fontAlgn="auto" latinLnBrk="0" hangingPunct="1">
                        <a:lnSpc>
                          <a:spcPts val="1325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ar-MA" sz="11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3.3- دعم الجهات في تنفيذ نظام الحكامة الجديد  للتكوين </a:t>
                      </a:r>
                      <a:endParaRPr lang="en-US" sz="11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10" name="Image 9">
            <a:extLst>
              <a:ext uri="{FF2B5EF4-FFF2-40B4-BE49-F238E27FC236}">
                <a16:creationId xmlns:a16="http://schemas.microsoft.com/office/drawing/2014/main" id="{F75FC789-140B-5D28-8FBD-29819062B5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22617" y="115377"/>
            <a:ext cx="492903" cy="475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360649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98065"/>
            <a:ext cx="9906000" cy="492443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ar-SA" sz="2600" dirty="0">
                <a:solidFill>
                  <a:schemeClr val="bg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مخطط تفعيل الاستراتيجية الجديدة للتكوين لفائدة الجماعات الترابية 4/5 </a:t>
            </a:r>
            <a:endParaRPr lang="fr-FR" sz="2600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56512C34-1333-7D75-E6B8-08C7E18D1093}"/>
              </a:ext>
            </a:extLst>
          </p:cNvPr>
          <p:cNvSpPr txBox="1"/>
          <p:nvPr/>
        </p:nvSpPr>
        <p:spPr>
          <a:xfrm>
            <a:off x="7869861" y="1281349"/>
            <a:ext cx="936000" cy="478913"/>
          </a:xfrm>
          <a:prstGeom prst="rect">
            <a:avLst/>
          </a:prstGeom>
          <a:solidFill>
            <a:srgbClr val="FFE593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ctr" defTabSz="914288" eaLnBrk="1" latinLnBrk="0" hangingPunct="1">
              <a:lnSpc>
                <a:spcPct val="90000"/>
              </a:lnSpc>
              <a:spcBef>
                <a:spcPts val="400"/>
              </a:spcBef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142" defTabSz="914288" eaLnBrk="1" latinLnBrk="0" hangingPunct="1">
              <a:defRPr sz="1800">
                <a:latin typeface="+mn-lt"/>
              </a:defRPr>
            </a:lvl2pPr>
            <a:lvl3pPr marL="914288" defTabSz="914288" eaLnBrk="1" latinLnBrk="0" hangingPunct="1">
              <a:defRPr sz="1800">
                <a:latin typeface="+mn-lt"/>
              </a:defRPr>
            </a:lvl3pPr>
            <a:lvl4pPr marL="1371430" defTabSz="914288" eaLnBrk="1" latinLnBrk="0" hangingPunct="1">
              <a:defRPr sz="1800">
                <a:latin typeface="+mn-lt"/>
              </a:defRPr>
            </a:lvl4pPr>
            <a:lvl5pPr marL="1828574" defTabSz="914288" eaLnBrk="1" latinLnBrk="0" hangingPunct="1">
              <a:defRPr sz="1800">
                <a:latin typeface="+mn-lt"/>
              </a:defRPr>
            </a:lvl5pPr>
            <a:lvl6pPr marL="2285715" defTabSz="914288">
              <a:defRPr sz="1800">
                <a:latin typeface="+mn-lt"/>
              </a:defRPr>
            </a:lvl6pPr>
            <a:lvl7pPr marL="2742857" defTabSz="914288">
              <a:defRPr sz="1800">
                <a:latin typeface="+mn-lt"/>
              </a:defRPr>
            </a:lvl7pPr>
            <a:lvl8pPr marL="3200000" defTabSz="914288">
              <a:defRPr sz="1800">
                <a:latin typeface="+mn-lt"/>
              </a:defRPr>
            </a:lvl8pPr>
            <a:lvl9pPr marL="3657143" defTabSz="914288">
              <a:defRPr sz="1800">
                <a:latin typeface="+mn-lt"/>
              </a:defRPr>
            </a:lvl9pPr>
          </a:lstStyle>
          <a:p>
            <a:pPr fontAlgn="base">
              <a:spcAft>
                <a:spcPct val="0"/>
              </a:spcAft>
              <a:defRPr/>
            </a:pPr>
            <a:r>
              <a:rPr lang="ar-MA" sz="1056" dirty="0">
                <a:solidFill>
                  <a:sysClr val="windowText" lastClr="000000"/>
                </a:solidFill>
              </a:rPr>
              <a:t>الأهداف</a:t>
            </a:r>
            <a:endParaRPr lang="fr-FR" sz="1056" dirty="0">
              <a:solidFill>
                <a:sysClr val="windowText" lastClr="000000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9703EF9-52BF-11FC-3283-D5FE997082EC}"/>
              </a:ext>
            </a:extLst>
          </p:cNvPr>
          <p:cNvSpPr/>
          <p:nvPr/>
        </p:nvSpPr>
        <p:spPr bwMode="auto">
          <a:xfrm>
            <a:off x="1226913" y="1275065"/>
            <a:ext cx="6458254" cy="485198"/>
          </a:xfrm>
          <a:prstGeom prst="rect">
            <a:avLst/>
          </a:prstGeom>
          <a:solidFill>
            <a:schemeClr val="bg1">
              <a:lumMod val="95000"/>
              <a:alpha val="84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74295" tIns="37148" rIns="74295" bIns="37148" numCol="1" rtlCol="0" anchor="ctr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marL="0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42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88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30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74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15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57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00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43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463" indent="-144463" algn="r" rtl="1">
              <a:spcBef>
                <a:spcPts val="163"/>
              </a:spcBef>
              <a:buFont typeface="Arial" pitchFamily="34" charset="0"/>
              <a:buChar char="•"/>
              <a:defRPr/>
            </a:pPr>
            <a:r>
              <a:rPr lang="ar-MA" sz="1000" kern="0" dirty="0">
                <a:cs typeface="Calibri" panose="020F0502020204030204" pitchFamily="34" charset="0"/>
              </a:rPr>
              <a:t>العمل على دمج التكوين بمنظومة تدبير الموارد البشرية</a:t>
            </a:r>
          </a:p>
          <a:p>
            <a:pPr marL="144463" indent="-144463" algn="r" rtl="1">
              <a:spcBef>
                <a:spcPts val="163"/>
              </a:spcBef>
              <a:buFont typeface="Arial" pitchFamily="34" charset="0"/>
              <a:buChar char="•"/>
              <a:defRPr/>
            </a:pPr>
            <a:r>
              <a:rPr lang="ar-MA" sz="1000" kern="0" dirty="0">
                <a:cs typeface="Calibri" panose="020F0502020204030204" pitchFamily="34" charset="0"/>
              </a:rPr>
              <a:t>تطوير عرض للتكوين الأولي و أسلاك التكوين  المتخصصة بعلاقة مع الحاجيات المعبر عنها</a:t>
            </a:r>
          </a:p>
          <a:p>
            <a:pPr marL="144463" indent="-144463" algn="r" rtl="1">
              <a:spcBef>
                <a:spcPts val="163"/>
              </a:spcBef>
              <a:buFont typeface="Arial" pitchFamily="34" charset="0"/>
              <a:buChar char="•"/>
              <a:defRPr/>
            </a:pPr>
            <a:r>
              <a:rPr lang="ar-MA" sz="1000" kern="0" dirty="0">
                <a:cs typeface="Calibri" panose="020F0502020204030204" pitchFamily="34" charset="0"/>
              </a:rPr>
              <a:t>إدماج المحتوى الرقمي بمنظومة التكوين لفائدة الموارد البشرية الجماعية</a:t>
            </a:r>
            <a:endParaRPr lang="en-US" sz="1000" kern="0" dirty="0">
              <a:cs typeface="Calibri" panose="020F0502020204030204" pitchFamily="34" charset="0"/>
            </a:endParaRPr>
          </a:p>
        </p:txBody>
      </p:sp>
      <p:graphicFrame>
        <p:nvGraphicFramePr>
          <p:cNvPr id="12" name="Tableau 11">
            <a:extLst>
              <a:ext uri="{FF2B5EF4-FFF2-40B4-BE49-F238E27FC236}">
                <a16:creationId xmlns:a16="http://schemas.microsoft.com/office/drawing/2014/main" id="{A2E446F6-40A0-03C0-88F4-B8C61B299C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8444739"/>
              </p:ext>
            </p:extLst>
          </p:nvPr>
        </p:nvGraphicFramePr>
        <p:xfrm>
          <a:off x="1226912" y="806749"/>
          <a:ext cx="7546655" cy="409389"/>
        </p:xfrm>
        <a:graphic>
          <a:graphicData uri="http://schemas.openxmlformats.org/drawingml/2006/table">
            <a:tbl>
              <a:tblPr/>
              <a:tblGrid>
                <a:gridCol w="15093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0933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0933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0933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0933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09389">
                <a:tc>
                  <a:txBody>
                    <a:bodyPr/>
                    <a:lstStyle/>
                    <a:p>
                      <a:pPr marL="8255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فعيل أليات و وسائل المواكبة</a:t>
                      </a:r>
                      <a:endParaRPr lang="en-US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8255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900" b="1" kern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طوير العرض التكويني و منظومة التتبع</a:t>
                      </a:r>
                      <a:endParaRPr lang="en-US" sz="900" b="1" kern="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8255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وضع نظام حكامة جديد للتكوين</a:t>
                      </a:r>
                      <a:endParaRPr lang="en-US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8255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ملاءمة الإطار القانوني والتنظيمي</a:t>
                      </a:r>
                      <a:endParaRPr lang="en-US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8255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دبير  المرحلة الانتقالية</a:t>
                      </a:r>
                      <a:endParaRPr lang="en-US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3" name="Espace réservé du contenu 17">
            <a:extLst>
              <a:ext uri="{FF2B5EF4-FFF2-40B4-BE49-F238E27FC236}">
                <a16:creationId xmlns:a16="http://schemas.microsoft.com/office/drawing/2014/main" id="{5C9C1D01-B1E3-0827-B3E7-77FB67F0055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04383025"/>
              </p:ext>
            </p:extLst>
          </p:nvPr>
        </p:nvGraphicFramePr>
        <p:xfrm>
          <a:off x="737002" y="2348905"/>
          <a:ext cx="8526473" cy="3549931"/>
        </p:xfrm>
        <a:graphic>
          <a:graphicData uri="http://schemas.openxmlformats.org/drawingml/2006/table">
            <a:tbl>
              <a:tblPr firstRow="1">
                <a:tableStyleId>{B301B821-A1FF-4177-AEE7-76D212191A09}</a:tableStyleId>
              </a:tblPr>
              <a:tblGrid>
                <a:gridCol w="13075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577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3886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75825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563989">
                  <a:extLst>
                    <a:ext uri="{9D8B030D-6E8A-4147-A177-3AD203B41FA5}">
                      <a16:colId xmlns:a16="http://schemas.microsoft.com/office/drawing/2014/main" val="2795007860"/>
                    </a:ext>
                  </a:extLst>
                </a:gridCol>
              </a:tblGrid>
              <a:tr h="292003"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626870" algn="l"/>
                        </a:tabLst>
                        <a:defRPr/>
                      </a:pPr>
                      <a:r>
                        <a:rPr lang="ar-MA" sz="11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تطلبات الأساسية</a:t>
                      </a:r>
                      <a:endParaRPr lang="fr-FR" sz="11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626870" algn="l"/>
                        </a:tabLst>
                        <a:defRPr/>
                      </a:pPr>
                      <a:r>
                        <a:rPr lang="ar-MA" sz="11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تدخلين </a:t>
                      </a:r>
                      <a:endParaRPr lang="fr-FR" sz="11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626870" algn="l"/>
                        </a:tabLst>
                        <a:defRPr/>
                      </a:pPr>
                      <a:r>
                        <a:rPr lang="ar-MA" sz="11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مؤشرات الأداء</a:t>
                      </a:r>
                      <a:endParaRPr lang="fr-FR" sz="11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626870" algn="l"/>
                        </a:tabLst>
                        <a:defRPr/>
                      </a:pPr>
                      <a:r>
                        <a:rPr lang="ar-MA" sz="11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عمليات  الرئيسية</a:t>
                      </a:r>
                      <a:endParaRPr lang="fr-FR" sz="11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626870" algn="l"/>
                        </a:tabLst>
                        <a:defRPr/>
                      </a:pPr>
                      <a:r>
                        <a:rPr lang="ar-MA" sz="11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شاريع </a:t>
                      </a:r>
                      <a:endParaRPr lang="fr-FR" sz="11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41149">
                <a:tc>
                  <a:txBody>
                    <a:bodyPr/>
                    <a:lstStyle/>
                    <a:p>
                      <a:pPr marL="171450" indent="-171450" algn="just" defTabSz="914400" rtl="1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معاهد التكوين مؤهلة</a:t>
                      </a:r>
                      <a:endParaRPr lang="fr-FR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171450" indent="-171450" algn="just" defTabSz="914400" rtl="1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إطار القانوني ملائم</a:t>
                      </a:r>
                      <a:endParaRPr lang="fr-FR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2550" marR="0" lvl="0" indent="-82550" algn="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ديرية العامة للجماعات الترابية </a:t>
                      </a:r>
                    </a:p>
                    <a:p>
                      <a:pPr marL="82550" marR="0" lvl="0" indent="-82550" algn="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معاهد التكوين التابعة للوزارة الداخلية</a:t>
                      </a:r>
                      <a:endParaRPr lang="ar-MA" sz="900" b="1" kern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82550" marR="0" lvl="0" indent="-82550" algn="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endParaRPr lang="fr-FR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2550" marR="0" lvl="0" indent="-82550" algn="just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عدد المسارات التكوينية  الجديدة</a:t>
                      </a:r>
                      <a:endParaRPr lang="fr-FR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82550" indent="-82550" algn="just" defTabSz="914400" rtl="1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Font typeface="Arial" pitchFamily="34" charset="0"/>
                        <a:buChar char="•"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عدد المستفيدين من التكوين </a:t>
                      </a:r>
                      <a:endParaRPr lang="fr-FR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طوير عرض للتكوين الأولي و أسلاك التكوين  </a:t>
                      </a: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تخصصة</a:t>
                      </a: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لا سيما في الميادين ذات  الصبغة الإستعجالية </a:t>
                      </a:r>
                    </a:p>
                    <a:p>
                      <a:pPr marL="171450" marR="0" lvl="0" indent="-171450" algn="just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ربط عرض التكوين بتدبير التوقعي للوظائف و الكفاءات (</a:t>
                      </a:r>
                      <a:r>
                        <a:rPr lang="fr-FR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(GEPEC</a:t>
                      </a: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بالجماعات الترابية</a:t>
                      </a:r>
                      <a:endParaRPr lang="en-US" sz="900" b="1" kern="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just" rtl="1" eaLnBrk="0" fontAlgn="base" hangingPunct="0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tabLst/>
                      </a:pPr>
                      <a:r>
                        <a:rPr lang="ar-MA" sz="11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4.1- تطوير عرض للتكوين الأولي و أسلاك التكوين  المتخصصة</a:t>
                      </a:r>
                      <a:endParaRPr lang="en-US" sz="11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758160"/>
                  </a:ext>
                </a:extLst>
              </a:tr>
              <a:tr h="1104020">
                <a:tc>
                  <a:txBody>
                    <a:bodyPr/>
                    <a:lstStyle/>
                    <a:p>
                      <a:pPr marL="171450" indent="-171450" algn="just" defTabSz="914400" rtl="1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حسيس</a:t>
                      </a: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المتدخلين في مجال التكوين على صعيد الجهوي والمحلي</a:t>
                      </a:r>
                      <a:endParaRPr lang="en-US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171450" indent="-171450" algn="just" defTabSz="914400" rtl="1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فعيل المنظومة المعلوماتية </a:t>
                      </a:r>
                      <a:endParaRPr lang="en-US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2550" marR="0" lvl="0" indent="-82550" algn="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ديرية العامة للجماعات الترابية </a:t>
                      </a:r>
                      <a:endParaRPr lang="fr-FR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2550" indent="-82550" algn="r" defTabSz="914400" rtl="1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Font typeface="Arial" pitchFamily="34" charset="0"/>
                        <a:buChar char="•"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أجل الإنجاز</a:t>
                      </a:r>
                      <a:endParaRPr lang="fr-FR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82550" indent="-82550" algn="r" defTabSz="914400" rtl="1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Font typeface="Arial" pitchFamily="34" charset="0"/>
                        <a:buChar char="•"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يوم تكويني مشارك</a:t>
                      </a:r>
                      <a:endParaRPr lang="fr-FR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ar-MA" sz="900" b="1" kern="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228600" marR="0" lvl="0" indent="-228600" algn="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وضع و تعميم منظومة معلوماتية مندمجة لتدبير التكوين </a:t>
                      </a:r>
                    </a:p>
                    <a:p>
                      <a:pPr marL="228600" marR="0" lvl="0" indent="-228600" algn="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ar-MA" sz="900" b="1" kern="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228600" marR="0" lvl="0" indent="-228600" algn="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en-US" sz="900" b="1" kern="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1" eaLnBrk="0" fontAlgn="base" latinLnBrk="0" hangingPunct="0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ar-MA" sz="11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4.2- وضع  أليات التخطيط و التتبع عبر تعميم منظومة (منصة مندمجة) لتدبير التكوين </a:t>
                      </a:r>
                      <a:endParaRPr lang="en-US" sz="11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3200660"/>
                  </a:ext>
                </a:extLst>
              </a:tr>
              <a:tr h="1112759">
                <a:tc>
                  <a:txBody>
                    <a:bodyPr/>
                    <a:lstStyle/>
                    <a:p>
                      <a:pPr marL="171450" marR="0" lvl="0" indent="-171450" algn="just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فعيل منظومة التكوين عن بعد </a:t>
                      </a:r>
                      <a:endParaRPr lang="en-US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171450" indent="-171450" algn="just" defTabSz="914400" rtl="1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Font typeface="Arial" panose="020B0604020202020204" pitchFamily="34" charset="0"/>
                        <a:buChar char="•"/>
                      </a:pPr>
                      <a:endParaRPr lang="fr-FR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2550" marR="0" lvl="0" indent="-82550" algn="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ديرية العامة للجماعات الترابية </a:t>
                      </a:r>
                    </a:p>
                    <a:p>
                      <a:pPr marL="82550" marR="0" lvl="0" indent="-82550" algn="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جمعيات</a:t>
                      </a: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الممثلة للمنتخبين</a:t>
                      </a:r>
                      <a:endParaRPr lang="ar-MA" sz="900" b="1" kern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82550" marR="0" lvl="0" indent="-82550" algn="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جماعات الترابية المعنية</a:t>
                      </a:r>
                      <a:endParaRPr lang="fr-FR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8900" marR="0" lvl="0" indent="-88900" algn="just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يوم تكويني مشارك عن بعد</a:t>
                      </a:r>
                    </a:p>
                    <a:p>
                      <a:pPr marL="88900" marR="0" lvl="0" indent="-88900" algn="just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عدد المسارات التكوينية  عن بعد</a:t>
                      </a:r>
                    </a:p>
                  </a:txBody>
                  <a:tcPr marL="29250" marR="292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ar-MA" sz="900" b="1" kern="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171450" marR="0" lvl="0" indent="-171450" algn="just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طوير محتوى الرقمي  ملائم و تطوير استعمالات  التكوين عن بعد </a:t>
                      </a:r>
                    </a:p>
                    <a:p>
                      <a:pPr marL="171450" marR="0" lvl="0" indent="-171450" algn="just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عميم منظومة تكوين عن بعد</a:t>
                      </a:r>
                    </a:p>
                    <a:p>
                      <a:pPr marL="171450" marR="0" lvl="0" indent="-171450" algn="just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إدماج التكوين </a:t>
                      </a: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عن بعد بدليل التكوين على الصعيد الوطني و الجهوي</a:t>
                      </a:r>
                      <a:endParaRPr lang="fr-FR" sz="900" b="1" kern="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just" rtl="1" eaLnBrk="0" fontAlgn="base" hangingPunct="0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ar-MA" sz="11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4.3- استثمار في المحتوى الرقمي و تطوير استعمالات  التكوين عن بعد </a:t>
                      </a:r>
                      <a:endParaRPr lang="en-US" sz="11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7" name="Image 6">
            <a:extLst>
              <a:ext uri="{FF2B5EF4-FFF2-40B4-BE49-F238E27FC236}">
                <a16:creationId xmlns:a16="http://schemas.microsoft.com/office/drawing/2014/main" id="{F75FC789-140B-5D28-8FBD-29819062B5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22617" y="115377"/>
            <a:ext cx="492903" cy="475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267256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98065"/>
            <a:ext cx="9906000" cy="492443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ar-SA" sz="2600" dirty="0">
                <a:solidFill>
                  <a:schemeClr val="bg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مخطط تفعيل الاستراتيجية الجديدة للتكوين لفائدة الجماعات الترابية 5/5</a:t>
            </a:r>
            <a:endParaRPr lang="fr-FR" sz="2600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D546367F-786E-5FF3-1DDA-C35B2E54223B}"/>
              </a:ext>
            </a:extLst>
          </p:cNvPr>
          <p:cNvSpPr txBox="1"/>
          <p:nvPr/>
        </p:nvSpPr>
        <p:spPr>
          <a:xfrm>
            <a:off x="7869861" y="1281349"/>
            <a:ext cx="936000" cy="478913"/>
          </a:xfrm>
          <a:prstGeom prst="rect">
            <a:avLst/>
          </a:prstGeom>
          <a:solidFill>
            <a:srgbClr val="FFE593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ctr" defTabSz="914288" eaLnBrk="1" latinLnBrk="0" hangingPunct="1">
              <a:lnSpc>
                <a:spcPct val="90000"/>
              </a:lnSpc>
              <a:spcBef>
                <a:spcPts val="400"/>
              </a:spcBef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142" defTabSz="914288" eaLnBrk="1" latinLnBrk="0" hangingPunct="1">
              <a:defRPr sz="1800">
                <a:latin typeface="+mn-lt"/>
              </a:defRPr>
            </a:lvl2pPr>
            <a:lvl3pPr marL="914288" defTabSz="914288" eaLnBrk="1" latinLnBrk="0" hangingPunct="1">
              <a:defRPr sz="1800">
                <a:latin typeface="+mn-lt"/>
              </a:defRPr>
            </a:lvl3pPr>
            <a:lvl4pPr marL="1371430" defTabSz="914288" eaLnBrk="1" latinLnBrk="0" hangingPunct="1">
              <a:defRPr sz="1800">
                <a:latin typeface="+mn-lt"/>
              </a:defRPr>
            </a:lvl4pPr>
            <a:lvl5pPr marL="1828574" defTabSz="914288" eaLnBrk="1" latinLnBrk="0" hangingPunct="1">
              <a:defRPr sz="1800">
                <a:latin typeface="+mn-lt"/>
              </a:defRPr>
            </a:lvl5pPr>
            <a:lvl6pPr marL="2285715" defTabSz="914288">
              <a:defRPr sz="1800">
                <a:latin typeface="+mn-lt"/>
              </a:defRPr>
            </a:lvl6pPr>
            <a:lvl7pPr marL="2742857" defTabSz="914288">
              <a:defRPr sz="1800">
                <a:latin typeface="+mn-lt"/>
              </a:defRPr>
            </a:lvl7pPr>
            <a:lvl8pPr marL="3200000" defTabSz="914288">
              <a:defRPr sz="1800">
                <a:latin typeface="+mn-lt"/>
              </a:defRPr>
            </a:lvl8pPr>
            <a:lvl9pPr marL="3657143" defTabSz="914288">
              <a:defRPr sz="1800">
                <a:latin typeface="+mn-lt"/>
              </a:defRPr>
            </a:lvl9pPr>
          </a:lstStyle>
          <a:p>
            <a:pPr fontAlgn="base">
              <a:spcAft>
                <a:spcPct val="0"/>
              </a:spcAft>
              <a:defRPr/>
            </a:pPr>
            <a:r>
              <a:rPr lang="ar-MA" sz="1056" dirty="0">
                <a:solidFill>
                  <a:sysClr val="windowText" lastClr="000000"/>
                </a:solidFill>
              </a:rPr>
              <a:t>الأهداف</a:t>
            </a:r>
            <a:endParaRPr lang="fr-FR" sz="1056" dirty="0">
              <a:solidFill>
                <a:sysClr val="windowText" lastClr="000000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AEE44F4-643C-3AFD-0551-A893F7BDC493}"/>
              </a:ext>
            </a:extLst>
          </p:cNvPr>
          <p:cNvSpPr/>
          <p:nvPr/>
        </p:nvSpPr>
        <p:spPr bwMode="auto">
          <a:xfrm>
            <a:off x="1226913" y="1275065"/>
            <a:ext cx="6458254" cy="485198"/>
          </a:xfrm>
          <a:prstGeom prst="rect">
            <a:avLst/>
          </a:prstGeom>
          <a:solidFill>
            <a:schemeClr val="bg1">
              <a:lumMod val="95000"/>
              <a:alpha val="84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74295" tIns="37148" rIns="74295" bIns="37148" numCol="1" rtlCol="0" anchor="ctr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marL="0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42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88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30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74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15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57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00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43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9303" indent="-139303" algn="r" rtl="1">
              <a:lnSpc>
                <a:spcPts val="1138"/>
              </a:lnSpc>
              <a:spcBef>
                <a:spcPts val="163"/>
              </a:spcBef>
              <a:buFont typeface="Arial" panose="020B0604020202020204" pitchFamily="34" charset="0"/>
              <a:buChar char="•"/>
              <a:defRPr/>
            </a:pPr>
            <a:r>
              <a:rPr lang="ar-MA" sz="1000" kern="0" dirty="0">
                <a:cs typeface="Calibri" panose="020F0502020204030204" pitchFamily="34" charset="0"/>
              </a:rPr>
              <a:t>وضع المتطلبات الأساسية لتفعيل  الاستراتيجية الجديدة للتكوين لفائدة الجماعة الترابية</a:t>
            </a:r>
            <a:endParaRPr lang="fr-FR" sz="1000" dirty="0">
              <a:solidFill>
                <a:prstClr val="black"/>
              </a:solidFill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9" name="Tableau 8">
            <a:extLst>
              <a:ext uri="{FF2B5EF4-FFF2-40B4-BE49-F238E27FC236}">
                <a16:creationId xmlns:a16="http://schemas.microsoft.com/office/drawing/2014/main" id="{3D50A11C-52F1-60CD-E19D-94A8B9D2DB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7292048"/>
              </p:ext>
            </p:extLst>
          </p:nvPr>
        </p:nvGraphicFramePr>
        <p:xfrm>
          <a:off x="1226912" y="806749"/>
          <a:ext cx="7546655" cy="409389"/>
        </p:xfrm>
        <a:graphic>
          <a:graphicData uri="http://schemas.openxmlformats.org/drawingml/2006/table">
            <a:tbl>
              <a:tblPr/>
              <a:tblGrid>
                <a:gridCol w="15093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0933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0933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0933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0933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09389">
                <a:tc>
                  <a:txBody>
                    <a:bodyPr/>
                    <a:lstStyle/>
                    <a:p>
                      <a:pPr marL="8255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900" b="1" kern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فعيل أليات و وسائل المواكبة</a:t>
                      </a:r>
                      <a:endParaRPr lang="en-US" sz="900" b="1" kern="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8255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طوير العرض التكويني و منظومة التتبع</a:t>
                      </a:r>
                      <a:endParaRPr lang="en-US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8255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وضع نظام حكامة جديد للتكوين</a:t>
                      </a:r>
                      <a:endParaRPr lang="en-US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8255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ملاءمة الإطار القانوني والتنظيمي</a:t>
                      </a:r>
                      <a:endParaRPr lang="en-US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8255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دبير  المرحلة الانتقالية</a:t>
                      </a:r>
                      <a:endParaRPr lang="en-US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4" name="Espace réservé du contenu 17">
            <a:extLst>
              <a:ext uri="{FF2B5EF4-FFF2-40B4-BE49-F238E27FC236}">
                <a16:creationId xmlns:a16="http://schemas.microsoft.com/office/drawing/2014/main" id="{561D2B21-6CF4-E884-1FFB-ED6E7B48E3D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80759448"/>
              </p:ext>
            </p:extLst>
          </p:nvPr>
        </p:nvGraphicFramePr>
        <p:xfrm>
          <a:off x="594359" y="2312329"/>
          <a:ext cx="8679241" cy="3793174"/>
        </p:xfrm>
        <a:graphic>
          <a:graphicData uri="http://schemas.openxmlformats.org/drawingml/2006/table">
            <a:tbl>
              <a:tblPr firstRow="1">
                <a:tableStyleId>{B301B821-A1FF-4177-AEE7-76D212191A09}</a:tableStyleId>
              </a:tblPr>
              <a:tblGrid>
                <a:gridCol w="13716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0504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4867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77847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575451">
                  <a:extLst>
                    <a:ext uri="{9D8B030D-6E8A-4147-A177-3AD203B41FA5}">
                      <a16:colId xmlns:a16="http://schemas.microsoft.com/office/drawing/2014/main" val="2795007860"/>
                    </a:ext>
                  </a:extLst>
                </a:gridCol>
              </a:tblGrid>
              <a:tr h="292003"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626870" algn="l"/>
                        </a:tabLst>
                        <a:defRPr/>
                      </a:pPr>
                      <a:r>
                        <a:rPr lang="ar-MA" sz="11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تطلبات الأساسية</a:t>
                      </a:r>
                      <a:endParaRPr lang="fr-FR" sz="11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626870" algn="l"/>
                        </a:tabLst>
                        <a:defRPr/>
                      </a:pPr>
                      <a:r>
                        <a:rPr lang="ar-MA" sz="11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تدخلين </a:t>
                      </a:r>
                      <a:endParaRPr lang="fr-FR" sz="11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626870" algn="l"/>
                        </a:tabLst>
                        <a:defRPr/>
                      </a:pPr>
                      <a:r>
                        <a:rPr lang="ar-MA" sz="11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مؤشرات الأداء</a:t>
                      </a:r>
                      <a:endParaRPr lang="fr-FR" sz="11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626870" algn="l"/>
                        </a:tabLst>
                        <a:defRPr/>
                      </a:pPr>
                      <a:r>
                        <a:rPr lang="ar-MA" sz="11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عمليات  الرئيسية</a:t>
                      </a:r>
                      <a:endParaRPr lang="fr-FR" sz="11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626870" algn="l"/>
                        </a:tabLst>
                        <a:defRPr/>
                      </a:pPr>
                      <a:r>
                        <a:rPr lang="ar-MA" sz="11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شاريع </a:t>
                      </a:r>
                      <a:endParaRPr lang="fr-FR" sz="11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5009">
                <a:tc>
                  <a:txBody>
                    <a:bodyPr/>
                    <a:lstStyle/>
                    <a:p>
                      <a:pPr marL="0" indent="0" algn="ctr" defTabSz="914400" rtl="1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fr-FR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2550" marR="0" lvl="0" indent="-82550" algn="just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جمعيات</a:t>
                      </a: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الممثلة للمنتخبين</a:t>
                      </a:r>
                      <a:endParaRPr lang="fr-FR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82550" marR="0" lvl="0" indent="-82550" algn="just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جهات</a:t>
                      </a:r>
                    </a:p>
                    <a:p>
                      <a:pPr marL="82550" marR="0" lvl="0" indent="-82550" algn="just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ديرية العامة للجماعات الترابية </a:t>
                      </a: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8900" indent="-88900" algn="r" rtl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endParaRPr lang="ar-MA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88900" marR="0" lvl="0" indent="-88900" algn="r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يزانية المرصدة للتكوين</a:t>
                      </a:r>
                    </a:p>
                    <a:p>
                      <a:pPr marL="88900" marR="0" lvl="0" indent="-88900" algn="r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نسبة إنجاز ميزانيات التكوين</a:t>
                      </a:r>
                    </a:p>
                    <a:p>
                      <a:pPr marL="88900" indent="-88900" algn="r" rtl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endParaRPr lang="ar-MA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برمجة ميزانية التكوين بالميزانية السنوية للجماعات الترابية وفق منظومة تمويل مصادق  عليها </a:t>
                      </a:r>
                    </a:p>
                    <a:p>
                      <a:pPr marL="171450" marR="0" lvl="0" indent="-171450" algn="just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نفيذ ميزانيات التكوين</a:t>
                      </a:r>
                      <a:endParaRPr lang="fr-FR" sz="900" b="1" kern="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just" rtl="1" eaLnBrk="0" fontAlgn="base" hangingPunct="0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ar-MA" sz="11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5.1- وضع ألية لضمان تمويل المنظومة الجديدة للتكوين</a:t>
                      </a:r>
                      <a:endParaRPr lang="en-US" sz="11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758160"/>
                  </a:ext>
                </a:extLst>
              </a:tr>
              <a:tr h="892885">
                <a:tc>
                  <a:txBody>
                    <a:bodyPr/>
                    <a:lstStyle/>
                    <a:p>
                      <a:pPr marL="171450" indent="-171450" algn="just" defTabSz="914400" rtl="1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حديد الحاجيات  الشعب التكوينية من المكونين</a:t>
                      </a:r>
                      <a:endParaRPr lang="en-US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55721" marR="5572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2550" marR="0" lvl="0" indent="-82550" algn="just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ديرية العامة للجماعات الترابية </a:t>
                      </a:r>
                    </a:p>
                    <a:p>
                      <a:pPr marL="82550" marR="0" lvl="0" indent="-82550" algn="just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جماعات الترابية الأخرى</a:t>
                      </a:r>
                      <a:endParaRPr lang="fr-FR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8900" indent="-88900" algn="r" defTabSz="914400" rtl="1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عدد المكونين العاملين </a:t>
                      </a:r>
                      <a:endParaRPr lang="fr-FR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88900" indent="-88900" algn="r" defTabSz="914400" rtl="1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عدد المكونين </a:t>
                      </a: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عزيز و تقوية  شبكة المكونين الداخليين </a:t>
                      </a:r>
                    </a:p>
                    <a:p>
                      <a:pPr marL="171450" marR="0" lvl="0" indent="-171450" algn="just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وضع  قاعدة البينات للمكونين الداخليين على  الصعيد الوطني و الجهوي</a:t>
                      </a:r>
                    </a:p>
                    <a:p>
                      <a:pPr marL="171450" marR="0" lvl="0" indent="-171450" algn="just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عميم تكوين المكونين على  الصعيد الوطني و المحلي</a:t>
                      </a:r>
                    </a:p>
                    <a:p>
                      <a:pPr marL="171450" marR="0" lvl="0" indent="-171450" algn="just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وضع  نضام تقييم كفاءة  المكونين الداخليين </a:t>
                      </a:r>
                      <a:endParaRPr lang="en-US" sz="900" b="1" kern="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just" rtl="1" eaLnBrk="0" fontAlgn="base" hangingPunct="0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tabLst/>
                      </a:pPr>
                      <a:r>
                        <a:rPr lang="ar-MA" sz="11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5.2- تعزيز و تقوية  شبكة المكونين الداخليين</a:t>
                      </a:r>
                      <a:endParaRPr lang="en-US" sz="11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3200660"/>
                  </a:ext>
                </a:extLst>
              </a:tr>
              <a:tr h="591883">
                <a:tc>
                  <a:txBody>
                    <a:bodyPr/>
                    <a:lstStyle/>
                    <a:p>
                      <a:pPr marL="0" indent="0" algn="ctr" defTabSz="914400" rtl="1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fr-FR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2550" marR="0" lvl="0" indent="-82550" algn="just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ديرية العامة للجماعات الترابية </a:t>
                      </a:r>
                      <a:endParaRPr lang="fr-FR" sz="900" b="1" kern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82550" marR="0" lvl="0" indent="-82550" algn="just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جمعية جهات المغرب</a:t>
                      </a: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8900" indent="-88900" algn="r" defTabSz="914400" rtl="1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وضع دليل هندسة التكوين </a:t>
                      </a:r>
                      <a:endParaRPr lang="fr-FR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1" indent="-171450" algn="just" defTabSz="914400" rtl="1" eaLnBrk="1" fontAlgn="auto" latinLnBrk="0" hangingPunct="1">
                        <a:lnSpc>
                          <a:spcPts val="14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وضع و توحيد معاير جودة للخدمات اللوجستيكية الخاصة بالتكوين  ( دفتر التحملات نموذجي  خاص بالإقامة، التنقلات...) </a:t>
                      </a:r>
                      <a:endParaRPr lang="en-US" sz="900" b="1" kern="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171450" marR="0" lvl="1" indent="-171450" algn="just" defTabSz="914400" rtl="1" eaLnBrk="1" fontAlgn="auto" latinLnBrk="0" hangingPunct="1">
                        <a:lnSpc>
                          <a:spcPts val="14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كوين مسؤولي الموارد البشرية و التكوين على الصعيد الجهوي  المحلي على معاير جودة للخدمات </a:t>
                      </a:r>
                      <a:endParaRPr lang="en-US" sz="900" b="1" kern="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just" defTabSz="914400" rtl="1" eaLnBrk="0" fontAlgn="base" latinLnBrk="0" hangingPunct="0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ar-MA" sz="11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5.3- توحيد  معاير جودة التكوين</a:t>
                      </a:r>
                      <a:endParaRPr lang="en-US" sz="11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506977"/>
                  </a:ext>
                </a:extLst>
              </a:tr>
              <a:tr h="948177">
                <a:tc>
                  <a:txBody>
                    <a:bodyPr/>
                    <a:lstStyle/>
                    <a:p>
                      <a:pPr marL="0" indent="0" algn="ctr" defTabSz="914400" rtl="1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fr-FR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2550" marR="0" lvl="0" indent="-82550" algn="just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ديرية العامة للجماعات الترابية</a:t>
                      </a:r>
                    </a:p>
                    <a:p>
                      <a:pPr marL="82550" marR="0" lvl="0" indent="-82550" algn="just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جماعات الترابية المعنية</a:t>
                      </a:r>
                      <a:r>
                        <a:rPr lang="ar-MA" sz="900" b="1" kern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</a:p>
                    <a:p>
                      <a:pPr marL="82550" marR="0" lvl="0" indent="-82550" algn="just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جامعات والشركاء</a:t>
                      </a: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8900" marR="0" lvl="0" indent="-88900" algn="r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عدد البرامج</a:t>
                      </a:r>
                    </a:p>
                    <a:p>
                      <a:pPr marL="88900" marR="0" lvl="0" indent="-88900" algn="r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يوم تكويني مشارك عن بعد</a:t>
                      </a:r>
                    </a:p>
                    <a:p>
                      <a:pPr marL="88900" marR="0" lvl="0" indent="-88900" algn="r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عدد</a:t>
                      </a: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شركاء</a:t>
                      </a: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عزيز و تحيين شراكات مع المتدخلين في مجال  التكوين مع الشركاء الوطنيين المختصين  حسب المهن</a:t>
                      </a: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just" defTabSz="914400" rtl="1" eaLnBrk="0" fontAlgn="base" latinLnBrk="0" hangingPunct="0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ar-MA" sz="11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5.4- تطوير شراكات مع المتدخلين في مجال  التكوين لفائدة موظفي الجماعات الترابية</a:t>
                      </a:r>
                      <a:endParaRPr lang="en-US" sz="11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10" name="Image 9">
            <a:extLst>
              <a:ext uri="{FF2B5EF4-FFF2-40B4-BE49-F238E27FC236}">
                <a16:creationId xmlns:a16="http://schemas.microsoft.com/office/drawing/2014/main" id="{F75FC789-140B-5D28-8FBD-29819062B5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22617" y="115377"/>
            <a:ext cx="492903" cy="475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440086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98065"/>
            <a:ext cx="9906000" cy="892552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ar-MA" sz="2600" dirty="0">
                <a:solidFill>
                  <a:schemeClr val="bg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                          </a:t>
            </a:r>
            <a:r>
              <a:rPr lang="ar-SA" sz="2600" dirty="0">
                <a:solidFill>
                  <a:schemeClr val="bg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مخطط تفعيل الاستراتيجية الجديدة للتكوين لفائدة الجماعات الترابية </a:t>
            </a:r>
            <a:endParaRPr lang="ar-MA" sz="2600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 algn="ctr"/>
            <a:r>
              <a:rPr lang="ar-SA" sz="2600" dirty="0">
                <a:solidFill>
                  <a:schemeClr val="bg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خلال الفترة  الممتدة من 2020 إلى 2023</a:t>
            </a:r>
            <a:endParaRPr lang="fr-FR" sz="2600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FE67769-B51D-3616-3CF1-9D22600866E1}"/>
              </a:ext>
            </a:extLst>
          </p:cNvPr>
          <p:cNvSpPr/>
          <p:nvPr/>
        </p:nvSpPr>
        <p:spPr>
          <a:xfrm>
            <a:off x="0" y="6605149"/>
            <a:ext cx="9906000" cy="154786"/>
          </a:xfrm>
          <a:prstGeom prst="rect">
            <a:avLst/>
          </a:prstGeom>
          <a:solidFill>
            <a:srgbClr val="34486E"/>
          </a:solidFill>
        </p:spPr>
        <p:txBody>
          <a:bodyPr wrap="square">
            <a:spAutoFit/>
          </a:bodyPr>
          <a:lstStyle/>
          <a:p>
            <a:pPr algn="ctr"/>
            <a:endParaRPr lang="fr-FR" sz="406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F75FC789-140B-5D28-8FBD-29819062B5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31486" y="191846"/>
            <a:ext cx="492903" cy="475131"/>
          </a:xfrm>
          <a:prstGeom prst="rect">
            <a:avLst/>
          </a:prstGeom>
        </p:spPr>
      </p:pic>
      <p:graphicFrame>
        <p:nvGraphicFramePr>
          <p:cNvPr id="11" name="Tableau 10">
            <a:extLst>
              <a:ext uri="{FF2B5EF4-FFF2-40B4-BE49-F238E27FC236}">
                <a16:creationId xmlns:a16="http://schemas.microsoft.com/office/drawing/2014/main" id="{808ABAFA-926D-2ED3-1713-F1FB30887A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8671262"/>
              </p:ext>
            </p:extLst>
          </p:nvPr>
        </p:nvGraphicFramePr>
        <p:xfrm>
          <a:off x="20175" y="1034879"/>
          <a:ext cx="9311311" cy="5415000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877373">
                  <a:extLst>
                    <a:ext uri="{9D8B030D-6E8A-4147-A177-3AD203B41FA5}">
                      <a16:colId xmlns:a16="http://schemas.microsoft.com/office/drawing/2014/main" val="2845091311"/>
                    </a:ext>
                  </a:extLst>
                </a:gridCol>
                <a:gridCol w="749367">
                  <a:extLst>
                    <a:ext uri="{9D8B030D-6E8A-4147-A177-3AD203B41FA5}">
                      <a16:colId xmlns:a16="http://schemas.microsoft.com/office/drawing/2014/main" val="388529623"/>
                    </a:ext>
                  </a:extLst>
                </a:gridCol>
                <a:gridCol w="715766">
                  <a:extLst>
                    <a:ext uri="{9D8B030D-6E8A-4147-A177-3AD203B41FA5}">
                      <a16:colId xmlns:a16="http://schemas.microsoft.com/office/drawing/2014/main" val="3016355967"/>
                    </a:ext>
                  </a:extLst>
                </a:gridCol>
                <a:gridCol w="781475">
                  <a:extLst>
                    <a:ext uri="{9D8B030D-6E8A-4147-A177-3AD203B41FA5}">
                      <a16:colId xmlns:a16="http://schemas.microsoft.com/office/drawing/2014/main" val="2736164763"/>
                    </a:ext>
                  </a:extLst>
                </a:gridCol>
                <a:gridCol w="5252442">
                  <a:extLst>
                    <a:ext uri="{9D8B030D-6E8A-4147-A177-3AD203B41FA5}">
                      <a16:colId xmlns:a16="http://schemas.microsoft.com/office/drawing/2014/main" val="438933615"/>
                    </a:ext>
                  </a:extLst>
                </a:gridCol>
                <a:gridCol w="934888">
                  <a:extLst>
                    <a:ext uri="{9D8B030D-6E8A-4147-A177-3AD203B41FA5}">
                      <a16:colId xmlns:a16="http://schemas.microsoft.com/office/drawing/2014/main" val="3615517891"/>
                    </a:ext>
                  </a:extLst>
                </a:gridCol>
              </a:tblGrid>
              <a:tr h="473790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4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2023</a:t>
                      </a:r>
                      <a:endParaRPr lang="en-US" sz="14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535" marR="6535" marT="653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E6E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4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2022</a:t>
                      </a:r>
                      <a:endParaRPr lang="en-US" sz="14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6991" marR="16991" marT="4357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E6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4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2021</a:t>
                      </a:r>
                      <a:endParaRPr lang="en-US" sz="14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535" marR="6535" marT="653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E6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4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2020</a:t>
                      </a:r>
                      <a:endParaRPr lang="en-US" sz="14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535" marR="6535" marT="653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E6EE"/>
                    </a:solidFill>
                  </a:tcPr>
                </a:tc>
                <a:tc>
                  <a:txBody>
                    <a:bodyPr/>
                    <a:lstStyle/>
                    <a:p>
                      <a:pPr indent="8890"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ar-MA" sz="14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مشاريع</a:t>
                      </a:r>
                      <a:endParaRPr lang="en-US" sz="14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535" marR="6535" marT="653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E6EE"/>
                    </a:solidFill>
                  </a:tcPr>
                </a:tc>
                <a:tc>
                  <a:txBody>
                    <a:bodyPr/>
                    <a:lstStyle/>
                    <a:p>
                      <a:pPr marL="98425"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ar-MA" sz="14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مراحل الأساسية</a:t>
                      </a:r>
                      <a:endParaRPr lang="en-US" sz="14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535" marR="6535" marT="653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E6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690778"/>
                  </a:ext>
                </a:extLst>
              </a:tr>
              <a:tr h="281890">
                <a:tc>
                  <a:txBody>
                    <a:bodyPr/>
                    <a:lstStyle/>
                    <a:p>
                      <a:pPr indent="44958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 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8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6991" marR="16991" marT="43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449580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 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8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4625" lvl="0" indent="0" algn="just" rtl="1" eaLnBrk="0" fontAlgn="base" hangingPunct="0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ar-MA" sz="11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1.1- إحداث خلية مؤسساتية لتتبع تفعيل استراتيجية التكوين</a:t>
                      </a:r>
                      <a:endParaRPr lang="en-US" sz="11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indent="8255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12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دبير  المرحلة الانتقالية</a:t>
                      </a:r>
                      <a:endParaRPr lang="en-US" sz="12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66146636"/>
                  </a:ext>
                </a:extLst>
              </a:tr>
              <a:tr h="290089">
                <a:tc>
                  <a:txBody>
                    <a:bodyPr/>
                    <a:lstStyle/>
                    <a:p>
                      <a:pPr indent="44958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 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800" dirty="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6991" marR="16991" marT="43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449580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449580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800">
                          <a:effectLst/>
                        </a:rPr>
                        <a:t> 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4625" lvl="0" indent="0" algn="just" rtl="1" eaLnBrk="0" fontAlgn="base" hangingPunct="0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ar-MA" sz="11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1.2- تأهيل معاهد التكوين التابعة للوزارة الداخلية</a:t>
                      </a:r>
                      <a:endParaRPr lang="en-US" sz="11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rtl="1"/>
                      <a:endParaRPr lang="ar-M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7903862"/>
                  </a:ext>
                </a:extLst>
              </a:tr>
              <a:tr h="302709">
                <a:tc>
                  <a:txBody>
                    <a:bodyPr/>
                    <a:lstStyle/>
                    <a:p>
                      <a:pPr indent="44958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 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8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6991" marR="16991" marT="43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449580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 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449580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800">
                          <a:effectLst/>
                        </a:rPr>
                        <a:t> 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4625" lvl="0" indent="0" algn="just" rtl="1" eaLnBrk="0" fontAlgn="base" hangingPunct="0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ar-MA" sz="11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1.3- تطوير منصة التكوين عن بعد</a:t>
                      </a:r>
                      <a:endParaRPr lang="en-US" sz="11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rtl="1"/>
                      <a:endParaRPr lang="ar-M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5432499"/>
                  </a:ext>
                </a:extLst>
              </a:tr>
              <a:tr h="569154">
                <a:tc>
                  <a:txBody>
                    <a:bodyPr/>
                    <a:lstStyle/>
                    <a:p>
                      <a:pPr indent="44958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8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6991" marR="16991" marT="43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449580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 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449580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800">
                          <a:effectLst/>
                        </a:rPr>
                        <a:t> 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4625" lvl="0" indent="0" algn="just" rtl="1" eaLnBrk="0" fontAlgn="base" hangingPunct="0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ar-MA" sz="11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2.1- تحديد المهام و المسؤولية الجهة و سبل تمويل المنظومة التكوين الجديدة (في</a:t>
                      </a:r>
                      <a:r>
                        <a:rPr lang="ar-MA" sz="1100" b="1" kern="1200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 إطار القوانين التنظيمية)</a:t>
                      </a:r>
                      <a:endParaRPr lang="en-US" sz="11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8255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12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طوير الإطار القانوني والتنظيمي</a:t>
                      </a:r>
                      <a:endParaRPr lang="en-US" sz="12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6481224"/>
                  </a:ext>
                </a:extLst>
              </a:tr>
              <a:tr h="340248">
                <a:tc>
                  <a:txBody>
                    <a:bodyPr/>
                    <a:lstStyle/>
                    <a:p>
                      <a:pPr indent="44958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 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800" dirty="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6991" marR="16991" marT="43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449580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449580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800" dirty="0">
                          <a:effectLst/>
                        </a:rPr>
                        <a:t> 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4625" lvl="0" indent="0" algn="just" rtl="1" eaLnBrk="0" fontAlgn="base" hangingPunct="0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ar-MA" sz="11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3.1- إنشاء هيأة وطنية للتوجيه للموارد البشرية الجماعية و التكوين </a:t>
                      </a:r>
                      <a:endParaRPr lang="en-US" sz="11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indent="8255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12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وضع نظام حكامة جديد للتكوين</a:t>
                      </a:r>
                      <a:endParaRPr lang="en-US" sz="12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1672466"/>
                  </a:ext>
                </a:extLst>
              </a:tr>
              <a:tr h="305002">
                <a:tc>
                  <a:txBody>
                    <a:bodyPr/>
                    <a:lstStyle/>
                    <a:p>
                      <a:pPr indent="44958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8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6991" marR="16991" marT="43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449580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449580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800" dirty="0">
                          <a:effectLst/>
                        </a:rPr>
                        <a:t> 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4625" lvl="0" indent="0" algn="just" rtl="1" eaLnBrk="0" fontAlgn="base" hangingPunct="0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ar-MA" sz="11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3.2- إحداث مرصد المهن الجماعية </a:t>
                      </a:r>
                      <a:endParaRPr lang="en-US" sz="11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rtl="1"/>
                      <a:endParaRPr lang="ar-M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26257479"/>
                  </a:ext>
                </a:extLst>
              </a:tr>
              <a:tr h="281890">
                <a:tc>
                  <a:txBody>
                    <a:bodyPr/>
                    <a:lstStyle/>
                    <a:p>
                      <a:pPr indent="44958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 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8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6991" marR="16991" marT="43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449580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449580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800" dirty="0">
                          <a:effectLst/>
                        </a:rPr>
                        <a:t> 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4625" lvl="0" indent="0" algn="just" rtl="1" eaLnBrk="0" fontAlgn="base" hangingPunct="0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ar-MA" sz="11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3.3- دعم الجهات في تنفيذ نظام الحكامة الجديد  للتكوين </a:t>
                      </a:r>
                      <a:endParaRPr lang="en-US" sz="11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rtl="1"/>
                      <a:endParaRPr lang="ar-M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48572450"/>
                  </a:ext>
                </a:extLst>
              </a:tr>
              <a:tr h="290768">
                <a:tc>
                  <a:txBody>
                    <a:bodyPr/>
                    <a:lstStyle/>
                    <a:p>
                      <a:pPr indent="44958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8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6991" marR="16991" marT="43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449580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449580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800">
                          <a:effectLst/>
                        </a:rPr>
                        <a:t> 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4625" lvl="0" indent="0" algn="just" rtl="1" eaLnBrk="0" fontAlgn="base" hangingPunct="0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ar-MA" sz="11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4.1- تطوير عرض للتكوين الأولي و أسلاك التكوين  التخصصي</a:t>
                      </a:r>
                      <a:endParaRPr lang="en-US" sz="11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indent="8255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12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عرض تكويني ملائم و منظومة التتبع</a:t>
                      </a:r>
                      <a:endParaRPr lang="en-US" sz="12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16049087"/>
                  </a:ext>
                </a:extLst>
              </a:tr>
              <a:tr h="291448">
                <a:tc>
                  <a:txBody>
                    <a:bodyPr/>
                    <a:lstStyle/>
                    <a:p>
                      <a:pPr indent="44958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 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800" dirty="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6991" marR="16991" marT="43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449580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449580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800" dirty="0">
                          <a:effectLst/>
                        </a:rPr>
                        <a:t> 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4625" marR="0" lvl="0" indent="0" algn="just" defTabSz="914400" rtl="1" eaLnBrk="0" fontAlgn="base" latinLnBrk="0" hangingPunct="0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ar-MA" sz="11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4.2- وضع  أليات التخطيط و التتبع عبر تعميم منظومة (منصة مندمجة) لتدبير التكوين </a:t>
                      </a:r>
                      <a:endParaRPr lang="en-US" sz="11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rtl="1"/>
                      <a:endParaRPr lang="ar-M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74985818"/>
                  </a:ext>
                </a:extLst>
              </a:tr>
              <a:tr h="298400">
                <a:tc>
                  <a:txBody>
                    <a:bodyPr/>
                    <a:lstStyle/>
                    <a:p>
                      <a:pPr indent="44958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8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6991" marR="16991" marT="43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449580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449580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800">
                          <a:effectLst/>
                        </a:rPr>
                        <a:t> 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4625" lvl="0" indent="0" algn="just" rtl="1" eaLnBrk="0" fontAlgn="base" hangingPunct="0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ar-MA" sz="11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4.3- استثمار في المحتوى الرقمي و تطوير استعمالات  التكوين عن بعد </a:t>
                      </a:r>
                      <a:endParaRPr lang="en-US" sz="11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rtl="1"/>
                      <a:endParaRPr lang="ar-M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71747725"/>
                  </a:ext>
                </a:extLst>
              </a:tr>
              <a:tr h="361169">
                <a:tc>
                  <a:txBody>
                    <a:bodyPr/>
                    <a:lstStyle/>
                    <a:p>
                      <a:pPr indent="44958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 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indent="44958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 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800" dirty="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6991" marR="16991" marT="43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449580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 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indent="449580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 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449580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800" dirty="0">
                          <a:effectLst/>
                        </a:rPr>
                        <a:t> 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indent="449580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800" dirty="0">
                          <a:effectLst/>
                        </a:rPr>
                        <a:t> 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4625" lvl="0" indent="0" algn="just" rtl="1" eaLnBrk="0" fontAlgn="base" hangingPunct="0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ar-MA" sz="11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5.1- وضع ألية لضمان تمويل المنظومة الجديدة للتكوين</a:t>
                      </a:r>
                      <a:endParaRPr lang="en-US" sz="11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8255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12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وضع أليات و وسائل المواكبة</a:t>
                      </a:r>
                      <a:endParaRPr lang="en-US" sz="12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95645013"/>
                  </a:ext>
                </a:extLst>
              </a:tr>
              <a:tr h="372780">
                <a:tc>
                  <a:txBody>
                    <a:bodyPr/>
                    <a:lstStyle/>
                    <a:p>
                      <a:pPr indent="44958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8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6991" marR="16991" marT="43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449580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449580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800">
                          <a:effectLst/>
                        </a:rPr>
                        <a:t> 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4625" lvl="0" indent="0" algn="just" rtl="1" eaLnBrk="0" fontAlgn="base" hangingPunct="0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ar-MA" sz="11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5.2- تعزيز و تقوية  شبكة المكونين الداخليين</a:t>
                      </a:r>
                      <a:endParaRPr lang="en-US" sz="11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rtl="1"/>
                      <a:endParaRPr lang="ar-M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1735330"/>
                  </a:ext>
                </a:extLst>
              </a:tr>
              <a:tr h="291448">
                <a:tc>
                  <a:txBody>
                    <a:bodyPr/>
                    <a:lstStyle/>
                    <a:p>
                      <a:pPr indent="44958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 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8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6991" marR="16991" marT="43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449580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449580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800">
                          <a:effectLst/>
                        </a:rPr>
                        <a:t> 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4625" lvl="0" indent="0" algn="just" defTabSz="914400" rtl="1" eaLnBrk="0" fontAlgn="base" latinLnBrk="0" hangingPunct="0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ar-MA" sz="11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5.3- توحيد  معاير جودة التكوين</a:t>
                      </a:r>
                      <a:endParaRPr lang="en-US" sz="11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rtl="1"/>
                      <a:endParaRPr lang="ar-M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33849497"/>
                  </a:ext>
                </a:extLst>
              </a:tr>
              <a:tr h="283992">
                <a:tc>
                  <a:txBody>
                    <a:bodyPr/>
                    <a:lstStyle/>
                    <a:p>
                      <a:pPr indent="44958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8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6991" marR="16991" marT="43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449580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449580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800">
                          <a:effectLst/>
                        </a:rPr>
                        <a:t> 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4625" lvl="0" indent="0" algn="just" defTabSz="914400" rtl="1" eaLnBrk="0" fontAlgn="base" latinLnBrk="0" hangingPunct="0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ar-MA" sz="11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5.4- تطوير شراكات مع المتدخلين في مجال  التكوين لفائدة موظفي الجماعات الترابية</a:t>
                      </a:r>
                      <a:endParaRPr lang="en-US" sz="11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rtl="1"/>
                      <a:endParaRPr lang="ar-M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9782239"/>
                  </a:ext>
                </a:extLst>
              </a:tr>
              <a:tr h="355721">
                <a:tc gridSpan="6">
                  <a:txBody>
                    <a:bodyPr/>
                    <a:lstStyle/>
                    <a:p>
                      <a:pPr marL="346075" lvl="0" indent="-171450" algn="ctr" defTabSz="914400" rtl="0" eaLnBrk="0" fontAlgn="base" latinLnBrk="0" hangingPunct="0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Char char="•"/>
                      </a:pPr>
                      <a:endParaRPr lang="en-US" sz="11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indent="449580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6991" marR="16991" marT="43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indent="449580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indent="44958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346075" lvl="0" indent="-171450" algn="ctr" defTabSz="914400" rtl="1" eaLnBrk="0" fontAlgn="base" latinLnBrk="0" hangingPunct="0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Char char="•"/>
                      </a:pPr>
                      <a:endParaRPr lang="en-US" sz="11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rtl="1"/>
                      <a:endParaRPr lang="ar-M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78242921"/>
                  </a:ext>
                </a:extLst>
              </a:tr>
            </a:tbl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99F28227-C194-342B-6CB6-059248F466D5}"/>
              </a:ext>
            </a:extLst>
          </p:cNvPr>
          <p:cNvSpPr/>
          <p:nvPr/>
        </p:nvSpPr>
        <p:spPr bwMode="auto">
          <a:xfrm>
            <a:off x="6884" y="3728434"/>
            <a:ext cx="2386040" cy="76396"/>
          </a:xfrm>
          <a:prstGeom prst="rect">
            <a:avLst/>
          </a:prstGeom>
          <a:solidFill>
            <a:srgbClr val="760000">
              <a:alpha val="83922"/>
            </a:srgb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95250" indent="-95250" algn="ctr">
              <a:spcBef>
                <a:spcPts val="200"/>
              </a:spcBef>
              <a:buFont typeface="Arial" pitchFamily="34" charset="0"/>
              <a:buChar char="•"/>
            </a:pPr>
            <a:endParaRPr lang="fr-FR" sz="1300" b="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ECAE954-CED8-2AE3-2820-18A3A58457D8}"/>
              </a:ext>
            </a:extLst>
          </p:cNvPr>
          <p:cNvSpPr/>
          <p:nvPr/>
        </p:nvSpPr>
        <p:spPr bwMode="auto">
          <a:xfrm>
            <a:off x="20175" y="3452646"/>
            <a:ext cx="2323389" cy="88361"/>
          </a:xfrm>
          <a:prstGeom prst="rect">
            <a:avLst/>
          </a:prstGeom>
          <a:solidFill>
            <a:srgbClr val="760000">
              <a:alpha val="83922"/>
            </a:srgb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95250" indent="-95250" algn="ctr">
              <a:spcBef>
                <a:spcPts val="200"/>
              </a:spcBef>
              <a:buFont typeface="Arial" pitchFamily="34" charset="0"/>
              <a:buChar char="•"/>
            </a:pPr>
            <a:endParaRPr lang="fr-FR" sz="1300" b="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89CB006-3801-F493-C71E-0F3D66AC3960}"/>
              </a:ext>
            </a:extLst>
          </p:cNvPr>
          <p:cNvSpPr/>
          <p:nvPr/>
        </p:nvSpPr>
        <p:spPr bwMode="auto">
          <a:xfrm>
            <a:off x="884460" y="3101576"/>
            <a:ext cx="1502169" cy="97255"/>
          </a:xfrm>
          <a:prstGeom prst="rect">
            <a:avLst/>
          </a:prstGeom>
          <a:solidFill>
            <a:srgbClr val="760000">
              <a:alpha val="83922"/>
            </a:srgb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95250" indent="-95250" algn="ctr">
              <a:spcBef>
                <a:spcPts val="200"/>
              </a:spcBef>
              <a:buFont typeface="Arial" pitchFamily="34" charset="0"/>
              <a:buChar char="•"/>
            </a:pPr>
            <a:endParaRPr lang="fr-FR" sz="1300" b="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8CA2D4C-47B2-63EB-3194-EC8A9937E7EE}"/>
              </a:ext>
            </a:extLst>
          </p:cNvPr>
          <p:cNvSpPr/>
          <p:nvPr/>
        </p:nvSpPr>
        <p:spPr bwMode="auto">
          <a:xfrm>
            <a:off x="891219" y="2597223"/>
            <a:ext cx="2253254" cy="85890"/>
          </a:xfrm>
          <a:prstGeom prst="rect">
            <a:avLst/>
          </a:prstGeom>
          <a:solidFill>
            <a:srgbClr val="760000">
              <a:alpha val="83922"/>
            </a:srgb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95250" indent="-95250" algn="ctr">
              <a:spcBef>
                <a:spcPts val="200"/>
              </a:spcBef>
              <a:buFont typeface="Arial" pitchFamily="34" charset="0"/>
              <a:buChar char="•"/>
            </a:pPr>
            <a:endParaRPr lang="fr-FR" sz="1300" b="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AA00208-1199-1461-519E-190919F21C6A}"/>
              </a:ext>
            </a:extLst>
          </p:cNvPr>
          <p:cNvSpPr/>
          <p:nvPr/>
        </p:nvSpPr>
        <p:spPr bwMode="auto">
          <a:xfrm>
            <a:off x="881134" y="2140756"/>
            <a:ext cx="1449136" cy="82492"/>
          </a:xfrm>
          <a:prstGeom prst="rect">
            <a:avLst/>
          </a:prstGeom>
          <a:solidFill>
            <a:srgbClr val="760000">
              <a:alpha val="83922"/>
            </a:srgb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95250" indent="-95250" algn="ctr">
              <a:spcBef>
                <a:spcPts val="200"/>
              </a:spcBef>
              <a:buFont typeface="Arial" pitchFamily="34" charset="0"/>
              <a:buChar char="•"/>
            </a:pPr>
            <a:endParaRPr lang="fr-FR" sz="1300" b="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1CA2DC9-2BC3-9B72-8780-A90F96E7E8E7}"/>
              </a:ext>
            </a:extLst>
          </p:cNvPr>
          <p:cNvSpPr/>
          <p:nvPr/>
        </p:nvSpPr>
        <p:spPr bwMode="auto">
          <a:xfrm>
            <a:off x="881134" y="1833245"/>
            <a:ext cx="2253254" cy="89586"/>
          </a:xfrm>
          <a:prstGeom prst="rect">
            <a:avLst/>
          </a:prstGeom>
          <a:solidFill>
            <a:srgbClr val="760000">
              <a:alpha val="83922"/>
            </a:srgb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95250" indent="-95250" algn="ctr">
              <a:spcBef>
                <a:spcPts val="200"/>
              </a:spcBef>
              <a:buFont typeface="Arial" pitchFamily="34" charset="0"/>
              <a:buChar char="•"/>
            </a:pPr>
            <a:endParaRPr lang="fr-FR" sz="1300" b="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A7EC912-69FD-55C4-2A19-B8E534FA0330}"/>
              </a:ext>
            </a:extLst>
          </p:cNvPr>
          <p:cNvSpPr/>
          <p:nvPr/>
        </p:nvSpPr>
        <p:spPr bwMode="auto">
          <a:xfrm>
            <a:off x="69535" y="4330960"/>
            <a:ext cx="2253254" cy="88361"/>
          </a:xfrm>
          <a:prstGeom prst="rect">
            <a:avLst/>
          </a:prstGeom>
          <a:solidFill>
            <a:srgbClr val="760000">
              <a:alpha val="83922"/>
            </a:srgb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95250" indent="-95250" algn="ctr">
              <a:spcBef>
                <a:spcPts val="200"/>
              </a:spcBef>
              <a:buFont typeface="Arial" pitchFamily="34" charset="0"/>
              <a:buChar char="•"/>
            </a:pPr>
            <a:endParaRPr lang="fr-FR" sz="1300" b="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FB56595-E80C-6082-6F5E-4B9131170090}"/>
              </a:ext>
            </a:extLst>
          </p:cNvPr>
          <p:cNvSpPr/>
          <p:nvPr/>
        </p:nvSpPr>
        <p:spPr bwMode="auto">
          <a:xfrm>
            <a:off x="6884" y="4011275"/>
            <a:ext cx="2323385" cy="88361"/>
          </a:xfrm>
          <a:prstGeom prst="rect">
            <a:avLst/>
          </a:prstGeom>
          <a:solidFill>
            <a:srgbClr val="760000">
              <a:alpha val="83922"/>
            </a:srgb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95250" indent="-95250" algn="ctr">
              <a:spcBef>
                <a:spcPts val="200"/>
              </a:spcBef>
              <a:buFont typeface="Arial" pitchFamily="34" charset="0"/>
              <a:buChar char="•"/>
            </a:pPr>
            <a:endParaRPr lang="fr-FR" sz="1300" b="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681C2246-8592-CB77-67C6-0D1371D39D74}"/>
              </a:ext>
            </a:extLst>
          </p:cNvPr>
          <p:cNvSpPr/>
          <p:nvPr/>
        </p:nvSpPr>
        <p:spPr bwMode="auto">
          <a:xfrm>
            <a:off x="20175" y="4676271"/>
            <a:ext cx="2323385" cy="88361"/>
          </a:xfrm>
          <a:prstGeom prst="rect">
            <a:avLst/>
          </a:prstGeom>
          <a:solidFill>
            <a:srgbClr val="760000">
              <a:alpha val="83922"/>
            </a:srgb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95250" indent="-95250" algn="ctr">
              <a:spcBef>
                <a:spcPts val="200"/>
              </a:spcBef>
              <a:buFont typeface="Arial" pitchFamily="34" charset="0"/>
              <a:buChar char="•"/>
            </a:pPr>
            <a:endParaRPr lang="fr-FR" sz="1300" b="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5AFF517-5B8B-3CFF-1448-C8A64AFFB105}"/>
              </a:ext>
            </a:extLst>
          </p:cNvPr>
          <p:cNvSpPr/>
          <p:nvPr/>
        </p:nvSpPr>
        <p:spPr bwMode="auto">
          <a:xfrm>
            <a:off x="69535" y="4971078"/>
            <a:ext cx="841159" cy="80493"/>
          </a:xfrm>
          <a:prstGeom prst="rect">
            <a:avLst/>
          </a:prstGeom>
          <a:solidFill>
            <a:srgbClr val="760000">
              <a:alpha val="83922"/>
            </a:srgb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95250" indent="-95250" algn="ctr">
              <a:spcBef>
                <a:spcPts val="200"/>
              </a:spcBef>
              <a:buFont typeface="Arial" pitchFamily="34" charset="0"/>
              <a:buChar char="•"/>
            </a:pPr>
            <a:endParaRPr lang="fr-FR" sz="1300" b="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361961D-7F73-23C9-C5FE-F33C2587A8F7}"/>
              </a:ext>
            </a:extLst>
          </p:cNvPr>
          <p:cNvSpPr/>
          <p:nvPr/>
        </p:nvSpPr>
        <p:spPr bwMode="auto">
          <a:xfrm>
            <a:off x="14122" y="5350724"/>
            <a:ext cx="3114354" cy="88361"/>
          </a:xfrm>
          <a:prstGeom prst="rect">
            <a:avLst/>
          </a:prstGeom>
          <a:solidFill>
            <a:srgbClr val="760000">
              <a:alpha val="83922"/>
            </a:srgb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95250" indent="-95250" algn="ctr">
              <a:spcBef>
                <a:spcPts val="200"/>
              </a:spcBef>
              <a:buFont typeface="Arial" pitchFamily="34" charset="0"/>
              <a:buChar char="•"/>
            </a:pPr>
            <a:endParaRPr lang="fr-FR" sz="1300" b="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2B70176-EC41-CA59-95B3-00B35A88343E}"/>
              </a:ext>
            </a:extLst>
          </p:cNvPr>
          <p:cNvSpPr/>
          <p:nvPr/>
        </p:nvSpPr>
        <p:spPr bwMode="auto">
          <a:xfrm>
            <a:off x="53987" y="5914593"/>
            <a:ext cx="2323385" cy="88361"/>
          </a:xfrm>
          <a:prstGeom prst="rect">
            <a:avLst/>
          </a:prstGeom>
          <a:solidFill>
            <a:srgbClr val="760000">
              <a:alpha val="83922"/>
            </a:srgb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95250" indent="-95250" algn="ctr">
              <a:spcBef>
                <a:spcPts val="200"/>
              </a:spcBef>
              <a:buFont typeface="Arial" pitchFamily="34" charset="0"/>
              <a:buChar char="•"/>
            </a:pPr>
            <a:endParaRPr lang="fr-FR" sz="1300" b="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9FDC7D9-868D-DA75-F901-3316B31262DA}"/>
              </a:ext>
            </a:extLst>
          </p:cNvPr>
          <p:cNvSpPr/>
          <p:nvPr/>
        </p:nvSpPr>
        <p:spPr bwMode="auto">
          <a:xfrm>
            <a:off x="28846" y="5650105"/>
            <a:ext cx="1651808" cy="88133"/>
          </a:xfrm>
          <a:prstGeom prst="rect">
            <a:avLst/>
          </a:prstGeom>
          <a:solidFill>
            <a:srgbClr val="760000">
              <a:alpha val="83922"/>
            </a:srgb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95250" indent="-95250" algn="ctr">
              <a:spcBef>
                <a:spcPts val="200"/>
              </a:spcBef>
              <a:buFont typeface="Arial" pitchFamily="34" charset="0"/>
              <a:buChar char="•"/>
            </a:pPr>
            <a:endParaRPr lang="fr-FR" sz="1300" b="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AA00208-1199-1461-519E-190919F21C6A}"/>
              </a:ext>
            </a:extLst>
          </p:cNvPr>
          <p:cNvSpPr/>
          <p:nvPr/>
        </p:nvSpPr>
        <p:spPr bwMode="auto">
          <a:xfrm flipV="1">
            <a:off x="854750" y="1591626"/>
            <a:ext cx="1449136" cy="84773"/>
          </a:xfrm>
          <a:prstGeom prst="rect">
            <a:avLst/>
          </a:prstGeom>
          <a:solidFill>
            <a:srgbClr val="760000">
              <a:alpha val="83922"/>
            </a:srgb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95250" indent="-95250" algn="ctr">
              <a:spcBef>
                <a:spcPts val="200"/>
              </a:spcBef>
              <a:buFont typeface="Arial" pitchFamily="34" charset="0"/>
              <a:buChar char="•"/>
            </a:pPr>
            <a:endParaRPr lang="fr-FR" sz="1300" b="0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802143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ar-MA" dirty="0"/>
              <a:t>شكرا على انتباهكم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25279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34470" y="357527"/>
            <a:ext cx="9672917" cy="492443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ar-MA" sz="2600" dirty="0">
                <a:solidFill>
                  <a:schemeClr val="bg1"/>
                </a:solidFill>
                <a:latin typeface="Sakkal Majalla" panose="02000000000000000000" pitchFamily="2" charset="-78"/>
                <a:ea typeface="Calibri"/>
                <a:cs typeface="Sakkal Majalla" panose="02000000000000000000" pitchFamily="2" charset="-78"/>
              </a:rPr>
              <a:t>أهمية اعداد استراتيجية في مجال التكوين وتطوير القدرات</a:t>
            </a:r>
            <a:endParaRPr lang="fr-FR" sz="2275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FE67769-B51D-3616-3CF1-9D22600866E1}"/>
              </a:ext>
            </a:extLst>
          </p:cNvPr>
          <p:cNvSpPr/>
          <p:nvPr/>
        </p:nvSpPr>
        <p:spPr>
          <a:xfrm>
            <a:off x="0" y="6605149"/>
            <a:ext cx="9906000" cy="154786"/>
          </a:xfrm>
          <a:prstGeom prst="rect">
            <a:avLst/>
          </a:prstGeom>
          <a:solidFill>
            <a:srgbClr val="34486E"/>
          </a:solidFill>
        </p:spPr>
        <p:txBody>
          <a:bodyPr wrap="square">
            <a:spAutoFit/>
          </a:bodyPr>
          <a:lstStyle/>
          <a:p>
            <a:pPr algn="ctr"/>
            <a:endParaRPr lang="fr-FR" sz="406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F75FC789-140B-5D28-8FBD-29819062B57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164600" y="352942"/>
            <a:ext cx="492903" cy="475131"/>
          </a:xfrm>
          <a:prstGeom prst="rect">
            <a:avLst/>
          </a:prstGeom>
        </p:spPr>
      </p:pic>
      <p:sp>
        <p:nvSpPr>
          <p:cNvPr id="11" name="Chevron 6">
            <a:extLst>
              <a:ext uri="{FF2B5EF4-FFF2-40B4-BE49-F238E27FC236}">
                <a16:creationId xmlns:a16="http://schemas.microsoft.com/office/drawing/2014/main" id="{10E59DB1-C798-83C0-B61E-951868C58F1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flipH="1">
            <a:off x="6655120" y="4985100"/>
            <a:ext cx="3002383" cy="1116000"/>
          </a:xfrm>
          <a:prstGeom prst="homePlate">
            <a:avLst>
              <a:gd name="adj" fmla="val 37851"/>
            </a:avLst>
          </a:prstGeom>
          <a:solidFill>
            <a:schemeClr val="accent1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cs typeface="Calibri" panose="020F0502020204030204" pitchFamily="34" charset="0"/>
              </a:rPr>
              <a:t>المساهمة في وضع منظومة متجانسة لتدبير الموارد البشرية بالجماعات الترابية وتطوير قدراتها.</a:t>
            </a:r>
            <a:endParaRPr kumimoji="0" lang="fr-FR" sz="16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cs typeface="Calibri" panose="020F0502020204030204" pitchFamily="34" charset="0"/>
            </a:endParaRPr>
          </a:p>
        </p:txBody>
      </p:sp>
      <p:sp>
        <p:nvSpPr>
          <p:cNvPr id="15" name="Chevron 6">
            <a:extLst>
              <a:ext uri="{FF2B5EF4-FFF2-40B4-BE49-F238E27FC236}">
                <a16:creationId xmlns:a16="http://schemas.microsoft.com/office/drawing/2014/main" id="{6D8CC32F-FF1E-66BD-0893-B5B5C8078E5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 flipH="1">
            <a:off x="4438041" y="3812300"/>
            <a:ext cx="2930432" cy="1116000"/>
          </a:xfrm>
          <a:prstGeom prst="chevron">
            <a:avLst>
              <a:gd name="adj" fmla="val 22075"/>
            </a:avLst>
          </a:prstGeom>
          <a:solidFill>
            <a:schemeClr val="accent1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cs typeface="Calibri" panose="020F0502020204030204" pitchFamily="34" charset="0"/>
              </a:rPr>
              <a:t>التوصل الى مقاربة شمولية وتشاركية في مجال تدبير أنشطة التكوين على المدى المتوسط والبعيد</a:t>
            </a:r>
            <a:endParaRPr kumimoji="0" lang="fr-FR" sz="16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cs typeface="Calibri" panose="020F0502020204030204" pitchFamily="34" charset="0"/>
            </a:endParaRPr>
          </a:p>
        </p:txBody>
      </p:sp>
      <p:sp>
        <p:nvSpPr>
          <p:cNvPr id="16" name="Chevron 6">
            <a:extLst>
              <a:ext uri="{FF2B5EF4-FFF2-40B4-BE49-F238E27FC236}">
                <a16:creationId xmlns:a16="http://schemas.microsoft.com/office/drawing/2014/main" id="{5D571089-BB4B-A11C-F293-10D9ECF0E10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flipH="1">
            <a:off x="1756337" y="2611559"/>
            <a:ext cx="3086375" cy="1116000"/>
          </a:xfrm>
          <a:prstGeom prst="chevron">
            <a:avLst>
              <a:gd name="adj" fmla="val 22075"/>
            </a:avLst>
          </a:prstGeom>
          <a:solidFill>
            <a:schemeClr val="accent1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rtl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ar-MA" sz="160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Calibri" panose="020F0502020204030204" pitchFamily="34" charset="0"/>
              </a:rPr>
              <a:t>ضبط دور و مسؤولية مختلف المتدخلين </a:t>
            </a:r>
            <a:endParaRPr kumimoji="0" lang="fr-FR" sz="160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cs typeface="Calibri" panose="020F0502020204030204" pitchFamily="34" charset="0"/>
            </a:endParaRPr>
          </a:p>
        </p:txBody>
      </p:sp>
      <p:sp>
        <p:nvSpPr>
          <p:cNvPr id="12" name="Chevron 6">
            <a:extLst>
              <a:ext uri="{FF2B5EF4-FFF2-40B4-BE49-F238E27FC236}">
                <a16:creationId xmlns:a16="http://schemas.microsoft.com/office/drawing/2014/main" id="{5D571089-BB4B-A11C-F293-10D9ECF0E10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flipH="1">
            <a:off x="213149" y="1374343"/>
            <a:ext cx="3086375" cy="1116000"/>
          </a:xfrm>
          <a:prstGeom prst="chevron">
            <a:avLst>
              <a:gd name="adj" fmla="val 22075"/>
            </a:avLst>
          </a:prstGeom>
          <a:solidFill>
            <a:schemeClr val="accent1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rtl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ar-MA" sz="160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Calibri" panose="020F0502020204030204" pitchFamily="34" charset="0"/>
              </a:rPr>
              <a:t>حصر أهم الأوراش حسب الأولوية والأهمية </a:t>
            </a:r>
            <a:endParaRPr kumimoji="0" lang="fr-FR" sz="160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766162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5" grpId="0" animBg="1"/>
      <p:bldP spid="16" grpId="0" animBg="1"/>
      <p:bldP spid="12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98065"/>
            <a:ext cx="9906000" cy="492443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>
            <a:spAutoFit/>
          </a:bodyPr>
          <a:lstStyle/>
          <a:p>
            <a:pPr algn="ctr" rtl="1"/>
            <a:r>
              <a:rPr lang="ar-MA" sz="2600" dirty="0">
                <a:solidFill>
                  <a:schemeClr val="bg1"/>
                </a:solidFill>
                <a:latin typeface="Sakkal Majalla" panose="02000000000000000000" pitchFamily="2" charset="-78"/>
                <a:ea typeface="Calibri"/>
                <a:cs typeface="Sakkal Majalla" panose="02000000000000000000" pitchFamily="2" charset="-78"/>
              </a:rPr>
              <a:t>مراحل اعداد الاستراتيجية</a:t>
            </a:r>
            <a:endParaRPr lang="fr-FR" sz="2275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FE67769-B51D-3616-3CF1-9D22600866E1}"/>
              </a:ext>
            </a:extLst>
          </p:cNvPr>
          <p:cNvSpPr/>
          <p:nvPr/>
        </p:nvSpPr>
        <p:spPr>
          <a:xfrm>
            <a:off x="0" y="6605149"/>
            <a:ext cx="9906000" cy="154786"/>
          </a:xfrm>
          <a:prstGeom prst="rect">
            <a:avLst/>
          </a:prstGeom>
          <a:solidFill>
            <a:srgbClr val="34486E"/>
          </a:solidFill>
        </p:spPr>
        <p:txBody>
          <a:bodyPr wrap="square">
            <a:spAutoFit/>
          </a:bodyPr>
          <a:lstStyle/>
          <a:p>
            <a:pPr algn="ctr"/>
            <a:endParaRPr lang="fr-FR" sz="406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F75FC789-140B-5D28-8FBD-29819062B57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331486" y="115377"/>
            <a:ext cx="492903" cy="475131"/>
          </a:xfrm>
          <a:prstGeom prst="rect">
            <a:avLst/>
          </a:prstGeom>
        </p:spPr>
      </p:pic>
      <p:sp>
        <p:nvSpPr>
          <p:cNvPr id="11" name="Chevron 6">
            <a:extLst>
              <a:ext uri="{FF2B5EF4-FFF2-40B4-BE49-F238E27FC236}">
                <a16:creationId xmlns:a16="http://schemas.microsoft.com/office/drawing/2014/main" id="{10E59DB1-C798-83C0-B61E-951868C58F1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flipH="1">
            <a:off x="6408669" y="1046833"/>
            <a:ext cx="3002383" cy="1116000"/>
          </a:xfrm>
          <a:prstGeom prst="homePlate">
            <a:avLst>
              <a:gd name="adj" fmla="val 37851"/>
            </a:avLst>
          </a:prstGeom>
          <a:solidFill>
            <a:schemeClr val="accent1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cs typeface="Calibri" panose="020F0502020204030204" pitchFamily="34" charset="0"/>
              </a:rPr>
              <a:t>المرحلة الأولى </a:t>
            </a:r>
            <a:r>
              <a:rPr lang="ar-MA" sz="1600" kern="0" noProof="0" dirty="0">
                <a:cs typeface="Calibri" panose="020F0502020204030204" pitchFamily="34" charset="0"/>
              </a:rPr>
              <a:t>:</a:t>
            </a:r>
            <a:r>
              <a:rPr lang="ar-MA" sz="1600" kern="0" dirty="0">
                <a:cs typeface="Calibri" panose="020F0502020204030204" pitchFamily="34" charset="0"/>
              </a:rPr>
              <a:t> </a:t>
            </a:r>
            <a:r>
              <a:rPr kumimoji="0" lang="ar-MA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cs typeface="Calibri" panose="020F0502020204030204" pitchFamily="34" charset="0"/>
              </a:rPr>
              <a:t> تشخيص للوضعية الراهنة للتكوين بالجماعات الترابية.</a:t>
            </a:r>
            <a:endParaRPr kumimoji="0" lang="fr-FR" sz="16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cs typeface="Calibri" panose="020F0502020204030204" pitchFamily="34" charset="0"/>
            </a:endParaRPr>
          </a:p>
        </p:txBody>
      </p:sp>
      <p:sp>
        <p:nvSpPr>
          <p:cNvPr id="15" name="Chevron 6">
            <a:extLst>
              <a:ext uri="{FF2B5EF4-FFF2-40B4-BE49-F238E27FC236}">
                <a16:creationId xmlns:a16="http://schemas.microsoft.com/office/drawing/2014/main" id="{6D8CC32F-FF1E-66BD-0893-B5B5C8078E5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 flipH="1">
            <a:off x="3323379" y="1046833"/>
            <a:ext cx="2930432" cy="1116000"/>
          </a:xfrm>
          <a:prstGeom prst="chevron">
            <a:avLst>
              <a:gd name="adj" fmla="val 22075"/>
            </a:avLst>
          </a:prstGeom>
          <a:solidFill>
            <a:schemeClr val="accent1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1600" kern="0" dirty="0">
                <a:cs typeface="Calibri" panose="020F0502020204030204" pitchFamily="34" charset="0"/>
              </a:rPr>
              <a:t>المرحلة الثانية </a:t>
            </a:r>
            <a:r>
              <a:rPr lang="fr-FR" sz="1600" kern="0" dirty="0">
                <a:cs typeface="Calibri" panose="020F0502020204030204" pitchFamily="34" charset="0"/>
              </a:rPr>
              <a:t> </a:t>
            </a:r>
            <a:r>
              <a:rPr lang="ar-MA" sz="1600" kern="0" dirty="0">
                <a:cs typeface="Calibri" panose="020F0502020204030204" pitchFamily="34" charset="0"/>
              </a:rPr>
              <a:t>: صياغة استراتيجية التكوين. </a:t>
            </a:r>
            <a:endParaRPr kumimoji="0" lang="fr-FR" sz="16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cs typeface="Calibri" panose="020F0502020204030204" pitchFamily="34" charset="0"/>
            </a:endParaRPr>
          </a:p>
        </p:txBody>
      </p:sp>
      <p:sp>
        <p:nvSpPr>
          <p:cNvPr id="16" name="Chevron 6">
            <a:extLst>
              <a:ext uri="{FF2B5EF4-FFF2-40B4-BE49-F238E27FC236}">
                <a16:creationId xmlns:a16="http://schemas.microsoft.com/office/drawing/2014/main" id="{5D571089-BB4B-A11C-F293-10D9ECF0E10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flipH="1">
            <a:off x="81611" y="1046833"/>
            <a:ext cx="3086375" cy="1116000"/>
          </a:xfrm>
          <a:prstGeom prst="chevron">
            <a:avLst>
              <a:gd name="adj" fmla="val 22075"/>
            </a:avLst>
          </a:prstGeom>
          <a:solidFill>
            <a:schemeClr val="accent1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rtl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ar-MA" sz="1600" kern="0" dirty="0">
                <a:solidFill>
                  <a:schemeClr val="bg1"/>
                </a:solidFill>
                <a:cs typeface="Calibri" panose="020F0502020204030204" pitchFamily="34" charset="0"/>
              </a:rPr>
              <a:t>المرحلة الثالثة:  اعداد آليات ووسائل  المواكبة.</a:t>
            </a:r>
            <a:r>
              <a:rPr lang="ar-MA" sz="1400" kern="0" dirty="0">
                <a:solidFill>
                  <a:schemeClr val="bg1"/>
                </a:solidFill>
                <a:cs typeface="Calibri" panose="020F0502020204030204" pitchFamily="34" charset="0"/>
              </a:rPr>
              <a:t> </a:t>
            </a:r>
            <a:endParaRPr kumimoji="0" lang="fr-FR" sz="140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cs typeface="Calibri" panose="020F0502020204030204" pitchFamily="34" charset="0"/>
            </a:endParaRPr>
          </a:p>
        </p:txBody>
      </p:sp>
      <p:sp>
        <p:nvSpPr>
          <p:cNvPr id="17" name="Rectangle 4">
            <a:extLst>
              <a:ext uri="{FF2B5EF4-FFF2-40B4-BE49-F238E27FC236}">
                <a16:creationId xmlns:a16="http://schemas.microsoft.com/office/drawing/2014/main" id="{EDAA8F50-A5A2-BF8A-7258-1469AD265968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688889" y="2329121"/>
            <a:ext cx="2722164" cy="372293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72000" tIns="36000" rIns="36000" bIns="36000" anchor="ctr" anchorCtr="0"/>
          <a:lstStyle/>
          <a:p>
            <a:pPr marL="171450" indent="-171450" algn="just" defTabSz="776238" rtl="1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ar-MA" sz="1600" kern="0" dirty="0">
                <a:cs typeface="Calibri" panose="020F0502020204030204" pitchFamily="34" charset="0"/>
              </a:rPr>
              <a:t>إبراز الخطوط العريضة للوضعية الراهنة للتكوين بالجماعات الترابية</a:t>
            </a:r>
            <a:endParaRPr lang="fr-FR" sz="1600" kern="0" dirty="0">
              <a:cs typeface="Calibri" panose="020F0502020204030204" pitchFamily="34" charset="0"/>
            </a:endParaRPr>
          </a:p>
          <a:p>
            <a:pPr marL="171450" indent="-171450" algn="just" defTabSz="776238" rtl="1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ar-MA" sz="1600" kern="0" dirty="0">
                <a:cs typeface="Calibri" panose="020F0502020204030204" pitchFamily="34" charset="0"/>
              </a:rPr>
              <a:t>تحليل الوثائق و المنظومة القانونية </a:t>
            </a:r>
            <a:r>
              <a:rPr lang="ar-MA" sz="1600" kern="0" dirty="0" err="1">
                <a:cs typeface="Calibri" panose="020F0502020204030204" pitchFamily="34" charset="0"/>
              </a:rPr>
              <a:t>المؤطرة</a:t>
            </a:r>
            <a:r>
              <a:rPr lang="ar-MA" sz="1600" kern="0" dirty="0">
                <a:cs typeface="Calibri" panose="020F0502020204030204" pitchFamily="34" charset="0"/>
              </a:rPr>
              <a:t> للتكوين </a:t>
            </a:r>
          </a:p>
          <a:p>
            <a:pPr marL="171450" indent="-171450" algn="just" defTabSz="776238" rtl="1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ar-MA" sz="1600" kern="0" dirty="0">
                <a:cs typeface="Calibri" panose="020F0502020204030204" pitchFamily="34" charset="0"/>
              </a:rPr>
              <a:t>إجراء لبحث ميداني مع المتدخلين في عملية التكوين لفائدة  الجماعات الترابية.</a:t>
            </a:r>
            <a:endParaRPr lang="fr-FR" sz="1600" kern="0" dirty="0">
              <a:cs typeface="Calibri" panose="020F0502020204030204" pitchFamily="34" charset="0"/>
            </a:endParaRPr>
          </a:p>
        </p:txBody>
      </p:sp>
      <p:sp>
        <p:nvSpPr>
          <p:cNvPr id="18" name="Rectangle 4">
            <a:extLst>
              <a:ext uri="{FF2B5EF4-FFF2-40B4-BE49-F238E27FC236}">
                <a16:creationId xmlns:a16="http://schemas.microsoft.com/office/drawing/2014/main" id="{AB798125-8EE1-7A54-1D36-A54045D8B9CA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422007" y="2329121"/>
            <a:ext cx="2732645" cy="3724737"/>
          </a:xfrm>
          <a:prstGeom prst="rect">
            <a:avLst/>
          </a:prstGeom>
          <a:solidFill>
            <a:schemeClr val="accent1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square" lIns="72000" tIns="0" rIns="36000" bIns="0" rtlCol="0" anchor="ctr">
            <a:noAutofit/>
          </a:bodyPr>
          <a:lstStyle/>
          <a:p>
            <a:pPr marL="285750" indent="-285750" algn="just" rtl="1" fontAlgn="auto">
              <a:spcBef>
                <a:spcPts val="3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/>
            </a:pPr>
            <a:r>
              <a:rPr lang="ar-MA" altLang="de-DE" sz="1600" kern="0" dirty="0">
                <a:solidFill>
                  <a:schemeClr val="bg1"/>
                </a:solidFill>
                <a:cs typeface="Calibri" panose="020F0502020204030204" pitchFamily="34" charset="0"/>
              </a:rPr>
              <a:t>مقارنة المعاير المرجعية الدولية (</a:t>
            </a:r>
            <a:r>
              <a:rPr lang="fr-FR" altLang="de-DE" sz="1600" kern="0" dirty="0">
                <a:solidFill>
                  <a:schemeClr val="bg1"/>
                </a:solidFill>
                <a:cs typeface="Calibri" panose="020F0502020204030204" pitchFamily="34" charset="0"/>
              </a:rPr>
              <a:t>Benchmark</a:t>
            </a:r>
            <a:r>
              <a:rPr lang="ar-MA" altLang="de-DE" sz="1600" kern="0" dirty="0">
                <a:solidFill>
                  <a:schemeClr val="bg1"/>
                </a:solidFill>
                <a:cs typeface="Calibri" panose="020F0502020204030204" pitchFamily="34" charset="0"/>
              </a:rPr>
              <a:t>) في مجال التكوين لفائدة الجماعات الترابية.</a:t>
            </a:r>
            <a:endParaRPr lang="fr-FR" altLang="de-DE" sz="1600" kern="0" dirty="0">
              <a:solidFill>
                <a:schemeClr val="bg1"/>
              </a:solidFill>
              <a:cs typeface="Calibri" panose="020F0502020204030204" pitchFamily="34" charset="0"/>
            </a:endParaRPr>
          </a:p>
          <a:p>
            <a:pPr marL="285750" indent="-285750" algn="just" rtl="1" fontAlgn="auto">
              <a:spcBef>
                <a:spcPts val="3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/>
            </a:pPr>
            <a:r>
              <a:rPr lang="ar-MA" altLang="de-DE" sz="1600" kern="0" dirty="0">
                <a:solidFill>
                  <a:schemeClr val="bg1"/>
                </a:solidFill>
                <a:cs typeface="Calibri" panose="020F0502020204030204" pitchFamily="34" charset="0"/>
              </a:rPr>
              <a:t>تحليل الترسانة القانونية في مجال التكوين لفائدة الجماعات الترابية</a:t>
            </a:r>
            <a:endParaRPr lang="fr-FR" altLang="de-DE" sz="1600" kern="0" dirty="0">
              <a:solidFill>
                <a:schemeClr val="bg1"/>
              </a:solidFill>
              <a:cs typeface="Calibri" panose="020F0502020204030204" pitchFamily="34" charset="0"/>
            </a:endParaRPr>
          </a:p>
          <a:p>
            <a:pPr marL="285750" indent="-285750" algn="just" rtl="1" fontAlgn="auto">
              <a:spcBef>
                <a:spcPts val="3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/>
            </a:pPr>
            <a:r>
              <a:rPr lang="ar-MA" altLang="de-DE" sz="1600" kern="0" dirty="0">
                <a:solidFill>
                  <a:schemeClr val="bg1"/>
                </a:solidFill>
                <a:cs typeface="Calibri" panose="020F0502020204030204" pitchFamily="34" charset="0"/>
              </a:rPr>
              <a:t>دراسة  التوجهات الممكنة و السيناريوهات المتاحة في هذا المجال</a:t>
            </a:r>
            <a:endParaRPr lang="fr-FR" altLang="de-DE" sz="1600" kern="0" dirty="0">
              <a:solidFill>
                <a:schemeClr val="bg1"/>
              </a:solidFill>
              <a:cs typeface="Calibri" panose="020F0502020204030204" pitchFamily="34" charset="0"/>
            </a:endParaRPr>
          </a:p>
          <a:p>
            <a:pPr marL="285750" indent="-285750" algn="just" rtl="1" fontAlgn="auto">
              <a:spcBef>
                <a:spcPts val="3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/>
            </a:pPr>
            <a:r>
              <a:rPr lang="ar-MA" altLang="de-DE" sz="1600" kern="0" dirty="0">
                <a:solidFill>
                  <a:schemeClr val="bg1"/>
                </a:solidFill>
                <a:cs typeface="Calibri" panose="020F0502020204030204" pitchFamily="34" charset="0"/>
              </a:rPr>
              <a:t>اقتراح سيناريوهات  لاستراتيجية التكوين لفائدة الجماعات الترابية</a:t>
            </a:r>
            <a:r>
              <a:rPr lang="ar-MA" altLang="de-DE" sz="1600" kern="0" dirty="0">
                <a:cs typeface="Calibri" panose="020F0502020204030204" pitchFamily="34" charset="0"/>
              </a:rPr>
              <a:t>.</a:t>
            </a:r>
            <a:endParaRPr lang="fr-FR" altLang="de-DE" sz="1800" b="0" kern="0" dirty="0">
              <a:solidFill>
                <a:sysClr val="windowText" lastClr="000000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19" name="Rectangle 4">
            <a:extLst>
              <a:ext uri="{FF2B5EF4-FFF2-40B4-BE49-F238E27FC236}">
                <a16:creationId xmlns:a16="http://schemas.microsoft.com/office/drawing/2014/main" id="{B81487C6-6F23-1A16-BFF2-E8E6139995DD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01798" y="2329121"/>
            <a:ext cx="2825906" cy="3724737"/>
          </a:xfrm>
          <a:prstGeom prst="rect">
            <a:avLst/>
          </a:prstGeom>
          <a:solidFill>
            <a:schemeClr val="accent1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horz" wrap="square" lIns="72000" tIns="0" rIns="36000" bIns="0" rtlCol="0" anchor="ctr">
            <a:noAutofit/>
          </a:bodyPr>
          <a:lstStyle/>
          <a:p>
            <a:pPr marL="285750" indent="-285750" algn="just" defTabSz="776238" rtl="1" fontAlgn="auto">
              <a:spcBef>
                <a:spcPts val="3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/>
            </a:pPr>
            <a:r>
              <a:rPr lang="ar-MA" altLang="de-DE" sz="1600" kern="0" dirty="0">
                <a:solidFill>
                  <a:schemeClr val="bg1"/>
                </a:solidFill>
                <a:cs typeface="Calibri" panose="020F0502020204030204" pitchFamily="34" charset="0"/>
              </a:rPr>
              <a:t>وضع خارطة الطريق لتفعيل الاستراتيجية الجديدة</a:t>
            </a:r>
            <a:r>
              <a:rPr lang="fr-FR" altLang="de-DE" sz="1600" kern="0" dirty="0">
                <a:solidFill>
                  <a:schemeClr val="bg1"/>
                </a:solidFill>
                <a:cs typeface="Calibri" panose="020F0502020204030204" pitchFamily="34" charset="0"/>
              </a:rPr>
              <a:t>.</a:t>
            </a:r>
          </a:p>
          <a:p>
            <a:pPr marL="285750" indent="-285750" algn="just" defTabSz="776238" rtl="1" fontAlgn="auto">
              <a:spcBef>
                <a:spcPts val="3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/>
            </a:pPr>
            <a:r>
              <a:rPr lang="ar-MA" altLang="de-DE" sz="1600" kern="0" dirty="0">
                <a:solidFill>
                  <a:schemeClr val="bg1"/>
                </a:solidFill>
                <a:cs typeface="Calibri" panose="020F0502020204030204" pitchFamily="34" charset="0"/>
              </a:rPr>
              <a:t>دراسة لنظام معلوماتي يهدف لتدبير مندمج لمنظومة التكوين بالجماعات الترابية</a:t>
            </a:r>
            <a:endParaRPr lang="fr-FR" altLang="de-DE" sz="2000" b="0" kern="0" dirty="0">
              <a:solidFill>
                <a:schemeClr val="bg1"/>
              </a:solidFill>
              <a:latin typeface="+mj-lt"/>
              <a:cs typeface="Calibri" panose="020F0502020204030204" pitchFamily="34" charset="0"/>
            </a:endParaRPr>
          </a:p>
          <a:p>
            <a:pPr marL="285750" indent="-285750" algn="just" defTabSz="776238" rtl="1" fontAlgn="auto">
              <a:spcBef>
                <a:spcPts val="3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/>
            </a:pPr>
            <a:r>
              <a:rPr lang="ar-MA" altLang="de-DE" sz="1600" kern="0" dirty="0">
                <a:solidFill>
                  <a:schemeClr val="bg1"/>
                </a:solidFill>
                <a:cs typeface="Calibri" panose="020F0502020204030204" pitchFamily="34" charset="0"/>
              </a:rPr>
              <a:t>مواكبة هذه الاستراتيجية عبر وضع مخطط لتواصل وإدارة التغير</a:t>
            </a:r>
            <a:r>
              <a:rPr lang="ar-MA" altLang="de-DE" sz="1800" kern="0" dirty="0">
                <a:solidFill>
                  <a:schemeClr val="bg1"/>
                </a:solidFill>
                <a:cs typeface="Calibri" panose="020F0502020204030204" pitchFamily="34" charset="0"/>
              </a:rPr>
              <a:t>.  </a:t>
            </a:r>
            <a:endParaRPr lang="fr-FR" altLang="de-DE" sz="1800" kern="0" dirty="0">
              <a:solidFill>
                <a:schemeClr val="bg1"/>
              </a:solidFill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238681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5" grpId="0" animBg="1"/>
      <p:bldP spid="16" grpId="0" animBg="1"/>
      <p:bldP spid="17" grpId="0" animBg="1"/>
      <p:bldP spid="18" grpId="0" animBg="1"/>
      <p:bldP spid="19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98065"/>
            <a:ext cx="9906000" cy="492443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>
            <a:spAutoFit/>
          </a:bodyPr>
          <a:lstStyle/>
          <a:p>
            <a:pPr algn="ctr" rtl="1"/>
            <a:r>
              <a:rPr lang="ar-MA" sz="2600" dirty="0">
                <a:solidFill>
                  <a:schemeClr val="bg1"/>
                </a:solidFill>
                <a:latin typeface="Sakkal Majalla" panose="02000000000000000000" pitchFamily="2" charset="-78"/>
                <a:ea typeface="Calibri"/>
                <a:cs typeface="Sakkal Majalla" panose="02000000000000000000" pitchFamily="2" charset="-78"/>
              </a:rPr>
              <a:t>تشخيص لوضعية التكوين بالجماعات الترابية</a:t>
            </a:r>
            <a:endParaRPr lang="fr-FR" sz="2275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F75FC789-140B-5D28-8FBD-29819062B5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50326" y="106720"/>
            <a:ext cx="492903" cy="475131"/>
          </a:xfrm>
          <a:prstGeom prst="rect">
            <a:avLst/>
          </a:prstGeom>
        </p:spPr>
      </p:pic>
      <p:sp>
        <p:nvSpPr>
          <p:cNvPr id="12" name="TextBox 29">
            <a:extLst>
              <a:ext uri="{FF2B5EF4-FFF2-40B4-BE49-F238E27FC236}">
                <a16:creationId xmlns:a16="http://schemas.microsoft.com/office/drawing/2014/main" id="{F9415A42-64C6-77D7-AF8F-69B2D53A5A8F}"/>
              </a:ext>
            </a:extLst>
          </p:cNvPr>
          <p:cNvSpPr txBox="1"/>
          <p:nvPr/>
        </p:nvSpPr>
        <p:spPr>
          <a:xfrm>
            <a:off x="4964565" y="1167317"/>
            <a:ext cx="4285761" cy="2190607"/>
          </a:xfrm>
          <a:prstGeom prst="rect">
            <a:avLst/>
          </a:prstGeom>
          <a:ln cmpd="thickThin"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34289" rIns="72000" bIns="34289" rtlCol="0" anchor="ctr" anchorCtr="0">
            <a:noAutofit/>
          </a:bodyPr>
          <a:lstStyle/>
          <a:p>
            <a:pPr marL="171450" indent="-171450" algn="just" rtl="1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ar-MA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وجود منظومة مهيكلة لتدبير أنشطة التكوين لفائدة الجماعات الترابية</a:t>
            </a:r>
            <a:r>
              <a:rPr lang="ar-SA" altLang="fr-FR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 :</a:t>
            </a:r>
            <a:r>
              <a:rPr lang="ar-MA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  معاهد للتكوين  الإداري والتقني و شبكة للمكونين الداخليين</a:t>
            </a:r>
          </a:p>
          <a:p>
            <a:pPr marL="171450" indent="-171450" algn="just" rtl="1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ar-MA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وجود مبادرات محمودة على الصعيد الجهوي و المحلي في مجال التكوين </a:t>
            </a:r>
            <a:endParaRPr lang="fr-FR" sz="1200" dirty="0">
              <a:solidFill>
                <a:schemeClr val="accent1">
                  <a:lumMod val="50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pPr marL="171450" indent="-171450" algn="just" rtl="1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ar-MA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العرض التكويني الحالي يتماشى مع حاجيات الجماعات الترابية خاصة عبر الأسلاك التكوينية الطويلة و القصيرة الأمد</a:t>
            </a:r>
          </a:p>
          <a:p>
            <a:pPr marL="171450" indent="-171450" algn="just" rtl="1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ar-MA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دور الأساسي و المحوري للمديرية العامة للجماعات الترابية في دعم  التكوين (التوفر على ميزانية خاصة بالتكوين).</a:t>
            </a:r>
          </a:p>
          <a:p>
            <a:pPr marL="171450" indent="-171450" algn="just" rtl="1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endParaRPr lang="fr-FR" sz="1200" dirty="0">
              <a:solidFill>
                <a:schemeClr val="accent1">
                  <a:lumMod val="5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3" name="TextBox 45">
            <a:extLst>
              <a:ext uri="{FF2B5EF4-FFF2-40B4-BE49-F238E27FC236}">
                <a16:creationId xmlns:a16="http://schemas.microsoft.com/office/drawing/2014/main" id="{6C654441-510E-6BFD-FE70-52663E1D9D0A}"/>
              </a:ext>
            </a:extLst>
          </p:cNvPr>
          <p:cNvSpPr txBox="1"/>
          <p:nvPr/>
        </p:nvSpPr>
        <p:spPr>
          <a:xfrm>
            <a:off x="293578" y="1167317"/>
            <a:ext cx="4285761" cy="2199897"/>
          </a:xfrm>
          <a:prstGeom prst="rect">
            <a:avLst/>
          </a:prstGeom>
          <a:ln cmpd="thickThin"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34289" rIns="72000" bIns="34289" rtlCol="0" anchor="ctr" anchorCtr="0">
            <a:noAutofit/>
          </a:bodyPr>
          <a:lstStyle/>
          <a:p>
            <a:pPr lvl="0" algn="just" rtl="1" eaLnBrk="0" hangingPunct="0">
              <a:spcAft>
                <a:spcPts val="600"/>
              </a:spcAft>
              <a:buFontTx/>
              <a:buChar char="•"/>
            </a:pPr>
            <a:r>
              <a:rPr lang="ar-MA" altLang="fr-FR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ل</a:t>
            </a:r>
            <a:r>
              <a:rPr lang="ar-SA" altLang="fr-FR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نظام </a:t>
            </a:r>
            <a:r>
              <a:rPr lang="ar-MA" altLang="fr-FR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ال</a:t>
            </a:r>
            <a:r>
              <a:rPr lang="ar-SA" altLang="fr-FR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حكام</a:t>
            </a:r>
            <a:r>
              <a:rPr lang="ar-MA" altLang="fr-FR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ة</a:t>
            </a:r>
            <a:r>
              <a:rPr lang="ar-SA" altLang="fr-FR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ar-MA" altLang="fr-FR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الحالي لمنظومة ال</a:t>
            </a:r>
            <a:r>
              <a:rPr lang="ar-SA" altLang="fr-FR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تكوين </a:t>
            </a:r>
            <a:r>
              <a:rPr lang="ar-MA" altLang="fr-FR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لم يعد يستجيب لمتطلبات المرحلة</a:t>
            </a:r>
            <a:r>
              <a:rPr lang="ar-SA" altLang="fr-FR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 </a:t>
            </a:r>
            <a:endParaRPr lang="ar-MA" altLang="fr-FR" sz="1200" dirty="0">
              <a:solidFill>
                <a:schemeClr val="accent1">
                  <a:lumMod val="50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pPr lvl="0" algn="just" rtl="1" eaLnBrk="0" hangingPunct="0">
              <a:spcAft>
                <a:spcPts val="600"/>
              </a:spcAft>
              <a:buFontTx/>
              <a:buChar char="•"/>
            </a:pPr>
            <a:r>
              <a:rPr lang="ar-MA" altLang="fr-FR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ال</a:t>
            </a:r>
            <a:r>
              <a:rPr lang="ar-SA" altLang="fr-FR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إطار </a:t>
            </a:r>
            <a:r>
              <a:rPr lang="ar-MA" altLang="fr-FR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ال</a:t>
            </a:r>
            <a:r>
              <a:rPr lang="ar-SA" altLang="fr-FR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تشريعي و</a:t>
            </a:r>
            <a:r>
              <a:rPr lang="ar-MA" altLang="fr-FR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ال</a:t>
            </a:r>
            <a:r>
              <a:rPr lang="ar-SA" altLang="fr-FR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تنظيمي </a:t>
            </a:r>
            <a:r>
              <a:rPr lang="ar-MA" altLang="fr-FR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غير مكتمل </a:t>
            </a:r>
            <a:r>
              <a:rPr lang="ar-SA" altLang="fr-FR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: </a:t>
            </a:r>
            <a:r>
              <a:rPr lang="ar-MA" altLang="fr-FR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(</a:t>
            </a:r>
            <a:r>
              <a:rPr lang="ar-SA" altLang="fr-FR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توضيح المسؤوليات و</a:t>
            </a:r>
            <a:r>
              <a:rPr lang="ar-MA" altLang="fr-FR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 المهام</a:t>
            </a:r>
            <a:r>
              <a:rPr lang="ar-SA" altLang="fr-FR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ar-MA" altLang="fr-FR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)</a:t>
            </a:r>
          </a:p>
          <a:p>
            <a:pPr algn="just" rtl="1" eaLnBrk="0" hangingPunct="0">
              <a:spcAft>
                <a:spcPts val="600"/>
              </a:spcAft>
              <a:buFontTx/>
              <a:buChar char="•"/>
            </a:pPr>
            <a:r>
              <a:rPr lang="en-US" altLang="fr-FR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ar-MA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 وظيفة الموارد البشرية علي صعيد الجماعات الترابية غير مفعلة بالشكل الأمثل </a:t>
            </a:r>
          </a:p>
          <a:p>
            <a:pPr algn="just" rtl="1" eaLnBrk="0" hangingPunct="0">
              <a:spcAft>
                <a:spcPts val="600"/>
              </a:spcAft>
              <a:buFontTx/>
              <a:buChar char="•"/>
            </a:pPr>
            <a:r>
              <a:rPr lang="ar-MA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تزايد الخصاص على العديد من المهن المحلية (الأطباء – المهندسين – و تقنيين ...)</a:t>
            </a:r>
          </a:p>
          <a:p>
            <a:pPr algn="just" rtl="1" eaLnBrk="0" hangingPunct="0">
              <a:spcAft>
                <a:spcPts val="600"/>
              </a:spcAft>
              <a:buFontTx/>
              <a:buChar char="•"/>
            </a:pPr>
            <a:r>
              <a:rPr lang="ar-MA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بلوغ عدد كبير من الموظفين الجماعيين   للسن القانوني للتقاعد في السنوات الخمس المقبلة.</a:t>
            </a:r>
            <a:endParaRPr lang="fr-FR" sz="1200" dirty="0">
              <a:solidFill>
                <a:schemeClr val="accent1">
                  <a:lumMod val="5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4" name="TextBox 29">
            <a:extLst>
              <a:ext uri="{FF2B5EF4-FFF2-40B4-BE49-F238E27FC236}">
                <a16:creationId xmlns:a16="http://schemas.microsoft.com/office/drawing/2014/main" id="{ABD04581-B23A-04F5-D84F-54CA711376C0}"/>
              </a:ext>
            </a:extLst>
          </p:cNvPr>
          <p:cNvSpPr txBox="1"/>
          <p:nvPr/>
        </p:nvSpPr>
        <p:spPr>
          <a:xfrm>
            <a:off x="4964565" y="4120181"/>
            <a:ext cx="4285761" cy="2333782"/>
          </a:xfrm>
          <a:prstGeom prst="rect">
            <a:avLst/>
          </a:prstGeom>
          <a:ln cmpd="thickThin"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36000" tIns="34289" rIns="36000" bIns="34289" rtlCol="0" anchor="ctr" anchorCtr="0">
            <a:normAutofit/>
          </a:bodyPr>
          <a:lstStyle/>
          <a:p>
            <a:pPr marL="171450" indent="-171450" algn="just" rtl="1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ar-MA" sz="12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وجود حاجيات مهمة في مجال التكوين نتيجة تطور المهن الجماعية،</a:t>
            </a:r>
          </a:p>
          <a:p>
            <a:pPr marL="171450" indent="-171450" algn="just" rtl="1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ar-MA" sz="12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 ضرورة التوظيف وإعادة الانتشار قصد تعويض المحالين على التقاعد</a:t>
            </a:r>
            <a:endParaRPr lang="fr-FR" sz="1200" dirty="0">
              <a:solidFill>
                <a:schemeClr val="tx2"/>
              </a:solidFill>
              <a:latin typeface="Calibri" pitchFamily="34" charset="0"/>
              <a:cs typeface="Calibri" pitchFamily="34" charset="0"/>
            </a:endParaRPr>
          </a:p>
          <a:p>
            <a:pPr marL="171450" indent="-171450" algn="just" rtl="1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ar-MA" sz="12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الاهتمام المتزايد بتنمية و تطوير الموارد البشرية</a:t>
            </a:r>
          </a:p>
          <a:p>
            <a:pPr marL="171450" indent="-171450" algn="just" rtl="1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ar-MA" sz="12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التطوير التكنولوجي الذي يتيح الفرصة للتحول الرقمي للتكوين  (التعلم   عن بعد، التعلم المختلط ، ...)</a:t>
            </a:r>
          </a:p>
          <a:p>
            <a:pPr marL="171450" indent="-171450" algn="just" rtl="1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ar-MA" sz="12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إمكانية تنسيق الجهود و تبادل الخبرات في مجال التكوين على الصعيد الجهوي  و خلق  شراكات والتبادل الخبرات</a:t>
            </a:r>
          </a:p>
        </p:txBody>
      </p:sp>
      <p:sp>
        <p:nvSpPr>
          <p:cNvPr id="20" name="TextBox 45">
            <a:extLst>
              <a:ext uri="{FF2B5EF4-FFF2-40B4-BE49-F238E27FC236}">
                <a16:creationId xmlns:a16="http://schemas.microsoft.com/office/drawing/2014/main" id="{FED7370B-D761-E328-C2ED-B965BF00515E}"/>
              </a:ext>
            </a:extLst>
          </p:cNvPr>
          <p:cNvSpPr txBox="1"/>
          <p:nvPr/>
        </p:nvSpPr>
        <p:spPr>
          <a:xfrm>
            <a:off x="293578" y="4125075"/>
            <a:ext cx="4285761" cy="2348084"/>
          </a:xfrm>
          <a:prstGeom prst="rect">
            <a:avLst/>
          </a:prstGeom>
          <a:solidFill>
            <a:srgbClr val="FFFFFF"/>
          </a:solidFill>
          <a:ln cmpd="thickThin"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36000" tIns="34289" rIns="36000" bIns="34289" rtlCol="0" anchor="ctr" anchorCtr="0">
            <a:normAutofit/>
          </a:bodyPr>
          <a:lstStyle/>
          <a:p>
            <a:pPr marL="171450" indent="-171450" algn="just" rtl="1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ar-MA" sz="12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اللجوء لفاعلين غير مختصين في مجال هندسة التكوين </a:t>
            </a:r>
            <a:endParaRPr lang="fr-FR" sz="1200" dirty="0">
              <a:solidFill>
                <a:schemeClr val="tx2"/>
              </a:solidFill>
              <a:latin typeface="Calibri" pitchFamily="34" charset="0"/>
              <a:cs typeface="Calibri" pitchFamily="34" charset="0"/>
            </a:endParaRPr>
          </a:p>
          <a:p>
            <a:pPr marL="171450" indent="-171450" algn="just" rtl="1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ar-MA" sz="12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تعدد المتدخلين في هذا المجال  من هيآت و منظمات الدولية ، جامعات و قطاع خاص ...) يوثر على نجاعة المنظومة الحالية للتكوين و يطرح إشكالية التنسيق</a:t>
            </a:r>
            <a:endParaRPr lang="fr-FR" sz="1200" dirty="0">
              <a:solidFill>
                <a:schemeClr val="tx2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1" name="TextBox 28">
            <a:extLst>
              <a:ext uri="{FF2B5EF4-FFF2-40B4-BE49-F238E27FC236}">
                <a16:creationId xmlns:a16="http://schemas.microsoft.com/office/drawing/2014/main" id="{F993A9B1-1C9B-7A0C-2819-6398B364D098}"/>
              </a:ext>
            </a:extLst>
          </p:cNvPr>
          <p:cNvSpPr txBox="1"/>
          <p:nvPr/>
        </p:nvSpPr>
        <p:spPr>
          <a:xfrm>
            <a:off x="6420188" y="739162"/>
            <a:ext cx="1748590" cy="28633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rgbClr val="34486E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wrap="square" lIns="0" tIns="34289" rIns="36000" bIns="34289" rtlCol="0" anchor="ctr" anchorCtr="0">
            <a:noAutofit/>
          </a:bodyPr>
          <a:lstStyle/>
          <a:p>
            <a:pPr algn="ctr" defTabSz="914288" rtl="1" fontAlgn="auto">
              <a:spcBef>
                <a:spcPts val="0"/>
              </a:spcBef>
              <a:spcAft>
                <a:spcPts val="0"/>
              </a:spcAft>
            </a:pPr>
            <a:r>
              <a:rPr lang="ar-MA" sz="1800" b="0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نقط القوة</a:t>
            </a:r>
            <a:endParaRPr lang="fr-FR" sz="1800" b="0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2" name="TextBox 34">
            <a:extLst>
              <a:ext uri="{FF2B5EF4-FFF2-40B4-BE49-F238E27FC236}">
                <a16:creationId xmlns:a16="http://schemas.microsoft.com/office/drawing/2014/main" id="{FFEC4ADE-AD9E-E1C3-6D03-867ADEE71EBB}"/>
              </a:ext>
            </a:extLst>
          </p:cNvPr>
          <p:cNvSpPr txBox="1"/>
          <p:nvPr/>
        </p:nvSpPr>
        <p:spPr>
          <a:xfrm>
            <a:off x="1470615" y="747448"/>
            <a:ext cx="1748590" cy="28633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rgbClr val="34486E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wrap="square" lIns="0" tIns="34289" rIns="36000" bIns="34289" rtlCol="0" anchor="ctr" anchorCtr="0">
            <a:noAutofit/>
          </a:bodyPr>
          <a:lstStyle/>
          <a:p>
            <a:pPr algn="ctr" defTabSz="914288" fontAlgn="auto">
              <a:spcBef>
                <a:spcPts val="0"/>
              </a:spcBef>
              <a:spcAft>
                <a:spcPts val="0"/>
              </a:spcAft>
            </a:pPr>
            <a:r>
              <a:rPr lang="ar-MA" sz="1800" b="0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نقط الضعف</a:t>
            </a:r>
            <a:endParaRPr lang="fr-FR" sz="1800" b="0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3" name="TextBox 31">
            <a:extLst>
              <a:ext uri="{FF2B5EF4-FFF2-40B4-BE49-F238E27FC236}">
                <a16:creationId xmlns:a16="http://schemas.microsoft.com/office/drawing/2014/main" id="{DF6CAA81-5791-8FF1-A5F0-20EC427AB753}"/>
              </a:ext>
            </a:extLst>
          </p:cNvPr>
          <p:cNvSpPr txBox="1"/>
          <p:nvPr/>
        </p:nvSpPr>
        <p:spPr>
          <a:xfrm>
            <a:off x="6420188" y="3709978"/>
            <a:ext cx="1748590" cy="28633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rgbClr val="34486E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wrap="square" lIns="0" tIns="34289" rIns="36000" bIns="34289" rtlCol="0" anchor="ctr" anchorCtr="0">
            <a:noAutofit/>
          </a:bodyPr>
          <a:lstStyle/>
          <a:p>
            <a:pPr algn="ctr" defTabSz="914288" rtl="1">
              <a:spcBef>
                <a:spcPts val="0"/>
              </a:spcBef>
              <a:defRPr/>
            </a:pPr>
            <a:r>
              <a:rPr lang="ar-MA" sz="1800" b="0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الفرص</a:t>
            </a:r>
            <a:endParaRPr lang="fr-FR" sz="1800" b="0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4" name="TextBox 37">
            <a:extLst>
              <a:ext uri="{FF2B5EF4-FFF2-40B4-BE49-F238E27FC236}">
                <a16:creationId xmlns:a16="http://schemas.microsoft.com/office/drawing/2014/main" id="{ECE72432-F453-E0E5-BD08-8D62AF2B4603}"/>
              </a:ext>
            </a:extLst>
          </p:cNvPr>
          <p:cNvSpPr txBox="1"/>
          <p:nvPr/>
        </p:nvSpPr>
        <p:spPr>
          <a:xfrm>
            <a:off x="1470615" y="3735802"/>
            <a:ext cx="1748590" cy="28633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rgbClr val="34486E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wrap="square" lIns="0" tIns="34289" rIns="36000" bIns="34289" rtlCol="0" anchor="ctr" anchorCtr="0">
            <a:noAutofit/>
          </a:bodyPr>
          <a:lstStyle/>
          <a:p>
            <a:pPr marL="0" lvl="0" indent="0" algn="ctr" rtl="1">
              <a:spcBef>
                <a:spcPts val="0"/>
              </a:spcBef>
              <a:buNone/>
              <a:defRPr/>
            </a:pPr>
            <a:r>
              <a:rPr lang="ar-MA" sz="1800" b="0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المخاطر</a:t>
            </a:r>
            <a:endParaRPr lang="fr-FR" sz="1800" b="0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513520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14" grpId="0" animBg="1"/>
      <p:bldP spid="20" grpId="0" animBg="1"/>
      <p:bldP spid="21" grpId="0" animBg="1"/>
      <p:bldP spid="22" grpId="0" animBg="1"/>
      <p:bldP spid="23" grpId="0" animBg="1"/>
      <p:bldP spid="24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98065"/>
            <a:ext cx="9906000" cy="892552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>
            <a:spAutoFit/>
          </a:bodyPr>
          <a:lstStyle/>
          <a:p>
            <a:pPr algn="ctr" rtl="1"/>
            <a:r>
              <a:rPr lang="fr-FR" sz="2600" dirty="0">
                <a:solidFill>
                  <a:schemeClr val="bg1"/>
                </a:solidFill>
                <a:latin typeface="Sakkal Majalla" panose="02000000000000000000" pitchFamily="2" charset="-78"/>
                <a:ea typeface="Calibri"/>
                <a:cs typeface="Sakkal Majalla" panose="02000000000000000000" pitchFamily="2" charset="-78"/>
              </a:rPr>
              <a:t>           </a:t>
            </a:r>
            <a:r>
              <a:rPr lang="ar-MA" sz="2600" dirty="0">
                <a:solidFill>
                  <a:schemeClr val="bg1"/>
                </a:solidFill>
                <a:latin typeface="Sakkal Majalla" panose="02000000000000000000" pitchFamily="2" charset="-78"/>
                <a:ea typeface="Calibri"/>
                <a:cs typeface="Sakkal Majalla" panose="02000000000000000000" pitchFamily="2" charset="-78"/>
              </a:rPr>
              <a:t>بناء على تشخيص الوضعية الراهنة  و على ضوء الخلاصات التجارب الأجنبية، تم تحديد محورين لتطوير منظومة التكوين</a:t>
            </a:r>
            <a:endParaRPr lang="fr-FR" sz="2275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FE67769-B51D-3616-3CF1-9D22600866E1}"/>
              </a:ext>
            </a:extLst>
          </p:cNvPr>
          <p:cNvSpPr/>
          <p:nvPr/>
        </p:nvSpPr>
        <p:spPr>
          <a:xfrm>
            <a:off x="0" y="6605149"/>
            <a:ext cx="9906000" cy="154786"/>
          </a:xfrm>
          <a:prstGeom prst="rect">
            <a:avLst/>
          </a:prstGeom>
          <a:solidFill>
            <a:srgbClr val="34486E"/>
          </a:solidFill>
        </p:spPr>
        <p:txBody>
          <a:bodyPr wrap="square">
            <a:spAutoFit/>
          </a:bodyPr>
          <a:lstStyle/>
          <a:p>
            <a:pPr algn="ctr"/>
            <a:endParaRPr lang="fr-FR" sz="406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F75FC789-140B-5D28-8FBD-29819062B5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94225" y="187590"/>
            <a:ext cx="492903" cy="475131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BE669ABA-ACE8-506B-B518-D5682BA17507}"/>
              </a:ext>
            </a:extLst>
          </p:cNvPr>
          <p:cNvSpPr/>
          <p:nvPr/>
        </p:nvSpPr>
        <p:spPr>
          <a:xfrm>
            <a:off x="1213340" y="1450035"/>
            <a:ext cx="7570176" cy="1858338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84715" tIns="144710" rIns="184715" bIns="144710" numCol="1" spcCol="1270" anchor="ctr" anchorCtr="0">
            <a:noAutofit/>
          </a:bodyPr>
          <a:lstStyle/>
          <a:p>
            <a:pPr lvl="0" algn="ctr" defTabSz="933450" rtl="1">
              <a:lnSpc>
                <a:spcPct val="90000"/>
              </a:lnSpc>
              <a:spcAft>
                <a:spcPct val="35000"/>
              </a:spcAft>
            </a:pPr>
            <a:r>
              <a:rPr lang="ar-MA" sz="2400" b="0" kern="0" dirty="0">
                <a:solidFill>
                  <a:schemeClr val="bg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1- وضع نظام حكامة يضمن الإحترافية في تدبير أنشطة التكوين الموجهة للجماعة الترابية </a:t>
            </a:r>
            <a:endParaRPr lang="fr-FR" sz="2400" b="0" kern="0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8F52EA3-BB83-AA5F-8E85-1018656C4B61}"/>
              </a:ext>
            </a:extLst>
          </p:cNvPr>
          <p:cNvSpPr/>
          <p:nvPr/>
        </p:nvSpPr>
        <p:spPr>
          <a:xfrm>
            <a:off x="1151792" y="3924971"/>
            <a:ext cx="7631724" cy="1937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spcFirstLastPara="0" vert="horz" wrap="square" lIns="184715" tIns="144710" rIns="184715" bIns="144710" numCol="1" spcCol="1270" anchor="ctr" anchorCtr="0">
            <a:noAutofit/>
          </a:bodyPr>
          <a:lstStyle/>
          <a:p>
            <a:pPr lvl="0" algn="ctr" defTabSz="933450" rtl="1">
              <a:lnSpc>
                <a:spcPct val="90000"/>
              </a:lnSpc>
              <a:spcAft>
                <a:spcPct val="35000"/>
              </a:spcAft>
            </a:pPr>
            <a:r>
              <a:rPr lang="ar-MA" sz="2400" b="0" kern="0" dirty="0">
                <a:solidFill>
                  <a:schemeClr val="bg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2- تطوير و الرفع من أنشطة التكوين قصد الاستجابة للحاجيات المتزايدة للجماعات الترابية من الموارد البشرية الكفؤة </a:t>
            </a:r>
            <a:endParaRPr lang="fr-FR" sz="2400" b="0" kern="0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98268998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98065"/>
            <a:ext cx="9906000" cy="892552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>
            <a:spAutoFit/>
          </a:bodyPr>
          <a:lstStyle/>
          <a:p>
            <a:pPr algn="ctr" rtl="1"/>
            <a:r>
              <a:rPr lang="ar-MA" sz="2600" dirty="0">
                <a:solidFill>
                  <a:schemeClr val="bg1"/>
                </a:solidFill>
                <a:latin typeface="Sakkal Majalla" panose="02000000000000000000" pitchFamily="2" charset="-78"/>
                <a:ea typeface="Calibri"/>
                <a:cs typeface="Sakkal Majalla" panose="02000000000000000000" pitchFamily="2" charset="-78"/>
              </a:rPr>
              <a:t>         المحور الأول  : يهدف لوضع نظام حكامة جديد  للتكوين موجه بالأساس للجماعة الترابية يضمن احترافية النشاط التكويني بارتباط مع التطورات المؤسساتية</a:t>
            </a:r>
            <a:endParaRPr lang="fr-FR" sz="2275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FE67769-B51D-3616-3CF1-9D22600866E1}"/>
              </a:ext>
            </a:extLst>
          </p:cNvPr>
          <p:cNvSpPr/>
          <p:nvPr/>
        </p:nvSpPr>
        <p:spPr>
          <a:xfrm>
            <a:off x="0" y="6605149"/>
            <a:ext cx="9906000" cy="154786"/>
          </a:xfrm>
          <a:prstGeom prst="rect">
            <a:avLst/>
          </a:prstGeom>
          <a:solidFill>
            <a:srgbClr val="34486E"/>
          </a:solidFill>
        </p:spPr>
        <p:txBody>
          <a:bodyPr wrap="square">
            <a:spAutoFit/>
          </a:bodyPr>
          <a:lstStyle/>
          <a:p>
            <a:pPr algn="ctr"/>
            <a:endParaRPr lang="fr-FR" sz="406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F75FC789-140B-5D28-8FBD-29819062B5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27572" y="296206"/>
            <a:ext cx="492903" cy="475131"/>
          </a:xfrm>
          <a:prstGeom prst="rect">
            <a:avLst/>
          </a:prstGeom>
        </p:spPr>
      </p:pic>
      <p:sp>
        <p:nvSpPr>
          <p:cNvPr id="7" name="Forme libre 6">
            <a:extLst>
              <a:ext uri="{FF2B5EF4-FFF2-40B4-BE49-F238E27FC236}">
                <a16:creationId xmlns:a16="http://schemas.microsoft.com/office/drawing/2014/main" id="{0877780B-8604-BD14-A474-8C680A2A0AB4}"/>
              </a:ext>
            </a:extLst>
          </p:cNvPr>
          <p:cNvSpPr/>
          <p:nvPr/>
        </p:nvSpPr>
        <p:spPr>
          <a:xfrm>
            <a:off x="6134444" y="1352965"/>
            <a:ext cx="3312000" cy="1224000"/>
          </a:xfrm>
          <a:custGeom>
            <a:avLst/>
            <a:gdLst>
              <a:gd name="connsiteX0" fmla="*/ 0 w 4294258"/>
              <a:gd name="connsiteY0" fmla="*/ 0 h 712570"/>
              <a:gd name="connsiteX1" fmla="*/ 4294258 w 4294258"/>
              <a:gd name="connsiteY1" fmla="*/ 0 h 712570"/>
              <a:gd name="connsiteX2" fmla="*/ 4294258 w 4294258"/>
              <a:gd name="connsiteY2" fmla="*/ 712570 h 712570"/>
              <a:gd name="connsiteX3" fmla="*/ 0 w 4294258"/>
              <a:gd name="connsiteY3" fmla="*/ 712570 h 712570"/>
              <a:gd name="connsiteX4" fmla="*/ 0 w 4294258"/>
              <a:gd name="connsiteY4" fmla="*/ 0 h 71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94258" h="712570">
                <a:moveTo>
                  <a:pt x="0" y="0"/>
                </a:moveTo>
                <a:lnTo>
                  <a:pt x="4294258" y="0"/>
                </a:lnTo>
                <a:lnTo>
                  <a:pt x="4294258" y="712570"/>
                </a:lnTo>
                <a:lnTo>
                  <a:pt x="0" y="71257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84715" tIns="144710" rIns="184715" bIns="144710" numCol="1" spcCol="1270" anchor="ctr" anchorCtr="0">
            <a:noAutofit/>
          </a:bodyPr>
          <a:lstStyle/>
          <a:p>
            <a:pPr algn="ctr" defTabSz="933450">
              <a:lnSpc>
                <a:spcPct val="90000"/>
              </a:lnSpc>
              <a:spcAft>
                <a:spcPct val="35000"/>
              </a:spcAft>
            </a:pPr>
            <a:r>
              <a:rPr lang="ar-MA" sz="2000" kern="0" dirty="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المبادئ المتبعة</a:t>
            </a:r>
            <a:endParaRPr lang="fr-FR" sz="2000" kern="0" dirty="0">
              <a:solidFill>
                <a:schemeClr val="tx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8" name="Forme libre 7">
            <a:extLst>
              <a:ext uri="{FF2B5EF4-FFF2-40B4-BE49-F238E27FC236}">
                <a16:creationId xmlns:a16="http://schemas.microsoft.com/office/drawing/2014/main" id="{887CF0BF-46EA-690C-0587-D634DA633BC8}"/>
              </a:ext>
            </a:extLst>
          </p:cNvPr>
          <p:cNvSpPr/>
          <p:nvPr/>
        </p:nvSpPr>
        <p:spPr>
          <a:xfrm>
            <a:off x="6134444" y="2785429"/>
            <a:ext cx="3312000" cy="3312000"/>
          </a:xfrm>
          <a:custGeom>
            <a:avLst/>
            <a:gdLst>
              <a:gd name="connsiteX0" fmla="*/ 0 w 4294258"/>
              <a:gd name="connsiteY0" fmla="*/ 0 h 2633655"/>
              <a:gd name="connsiteX1" fmla="*/ 4294258 w 4294258"/>
              <a:gd name="connsiteY1" fmla="*/ 0 h 2633655"/>
              <a:gd name="connsiteX2" fmla="*/ 4294258 w 4294258"/>
              <a:gd name="connsiteY2" fmla="*/ 2633655 h 2633655"/>
              <a:gd name="connsiteX3" fmla="*/ 0 w 4294258"/>
              <a:gd name="connsiteY3" fmla="*/ 2633655 h 2633655"/>
              <a:gd name="connsiteX4" fmla="*/ 0 w 4294258"/>
              <a:gd name="connsiteY4" fmla="*/ 0 h 26336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94258" h="2633655">
                <a:moveTo>
                  <a:pt x="0" y="0"/>
                </a:moveTo>
                <a:lnTo>
                  <a:pt x="4294258" y="0"/>
                </a:lnTo>
                <a:lnTo>
                  <a:pt x="4294258" y="2633655"/>
                </a:lnTo>
                <a:lnTo>
                  <a:pt x="0" y="2633655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6">
              <a:alpha val="90000"/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114300" lvl="1" indent="-114300" algn="just" defTabSz="622300" rtl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ar-MA" sz="1600" b="0" kern="0" dirty="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وضع الجماعة الترابية  في صلب منظومة التكوين</a:t>
            </a:r>
            <a:endParaRPr lang="fr-FR" sz="1600" b="0" kern="0" dirty="0">
              <a:solidFill>
                <a:schemeClr val="tx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 marL="114300" lvl="1" indent="-114300" algn="just" defTabSz="622300" rtl="1">
              <a:lnSpc>
                <a:spcPct val="90000"/>
              </a:lnSpc>
              <a:spcAft>
                <a:spcPct val="15000"/>
              </a:spcAft>
              <a:buChar char="••"/>
            </a:pPr>
            <a:r>
              <a:rPr lang="ar-MA" sz="1600" b="0" kern="0" dirty="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التمشي مع أهداف اللامركزية </a:t>
            </a:r>
            <a:r>
              <a:rPr lang="ar-MA" sz="1600" b="0" kern="0" dirty="0" err="1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واللاتمكز</a:t>
            </a:r>
            <a:r>
              <a:rPr lang="ar-MA" sz="1600" b="0" kern="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 الاداري</a:t>
            </a:r>
            <a:endParaRPr lang="ar-MA" sz="1600" b="0" kern="0" dirty="0">
              <a:solidFill>
                <a:schemeClr val="tx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 marL="114300" lvl="1" indent="-114300" algn="just" defTabSz="622300" rtl="1">
              <a:lnSpc>
                <a:spcPct val="90000"/>
              </a:lnSpc>
              <a:spcAft>
                <a:spcPct val="15000"/>
              </a:spcAft>
              <a:buChar char="••"/>
            </a:pPr>
            <a:r>
              <a:rPr lang="ar-MA" sz="1600" b="0" kern="0" dirty="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خلق إمكانية تضافر الجهود على الصعيد الجهوي</a:t>
            </a:r>
            <a:r>
              <a:rPr lang="fr-FR" sz="1600" b="0" kern="0" dirty="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 </a:t>
            </a:r>
            <a:r>
              <a:rPr lang="ar-MA" sz="1600" b="0" kern="0" dirty="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و الوطني </a:t>
            </a:r>
          </a:p>
          <a:p>
            <a:pPr marL="114300" lvl="1" indent="-114300" algn="just" defTabSz="622300" rtl="1">
              <a:lnSpc>
                <a:spcPct val="90000"/>
              </a:lnSpc>
              <a:spcAft>
                <a:spcPct val="15000"/>
              </a:spcAft>
              <a:buChar char="••"/>
            </a:pPr>
            <a:r>
              <a:rPr lang="ar-MA" sz="1600" b="0" kern="0" dirty="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تنفيد تدريجي و متباين للاستراتيجية التكوين</a:t>
            </a:r>
            <a:endParaRPr lang="fr-FR" sz="1600" b="0" kern="0" dirty="0">
              <a:solidFill>
                <a:schemeClr val="tx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10" name="Forme libre 9">
            <a:extLst>
              <a:ext uri="{FF2B5EF4-FFF2-40B4-BE49-F238E27FC236}">
                <a16:creationId xmlns:a16="http://schemas.microsoft.com/office/drawing/2014/main" id="{253CCEF5-7BCA-212D-830A-2EAD32A6AC05}"/>
              </a:ext>
            </a:extLst>
          </p:cNvPr>
          <p:cNvSpPr/>
          <p:nvPr/>
        </p:nvSpPr>
        <p:spPr>
          <a:xfrm>
            <a:off x="250301" y="1406753"/>
            <a:ext cx="4804876" cy="1224000"/>
          </a:xfrm>
          <a:custGeom>
            <a:avLst/>
            <a:gdLst>
              <a:gd name="connsiteX0" fmla="*/ 0 w 4294258"/>
              <a:gd name="connsiteY0" fmla="*/ 0 h 712570"/>
              <a:gd name="connsiteX1" fmla="*/ 4294258 w 4294258"/>
              <a:gd name="connsiteY1" fmla="*/ 0 h 712570"/>
              <a:gd name="connsiteX2" fmla="*/ 4294258 w 4294258"/>
              <a:gd name="connsiteY2" fmla="*/ 712570 h 712570"/>
              <a:gd name="connsiteX3" fmla="*/ 0 w 4294258"/>
              <a:gd name="connsiteY3" fmla="*/ 712570 h 712570"/>
              <a:gd name="connsiteX4" fmla="*/ 0 w 4294258"/>
              <a:gd name="connsiteY4" fmla="*/ 0 h 71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94258" h="712570">
                <a:moveTo>
                  <a:pt x="0" y="0"/>
                </a:moveTo>
                <a:lnTo>
                  <a:pt x="4294258" y="0"/>
                </a:lnTo>
                <a:lnTo>
                  <a:pt x="4294258" y="712570"/>
                </a:lnTo>
                <a:lnTo>
                  <a:pt x="0" y="71257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84715" tIns="144710" rIns="184715" bIns="144710" numCol="1" spcCol="1270" anchor="ctr" anchorCtr="0">
            <a:noAutofit/>
          </a:bodyPr>
          <a:lstStyle/>
          <a:p>
            <a:pPr algn="ctr" defTabSz="933450" rtl="1">
              <a:lnSpc>
                <a:spcPct val="90000"/>
              </a:lnSpc>
              <a:spcAft>
                <a:spcPct val="35000"/>
              </a:spcAft>
            </a:pPr>
            <a:r>
              <a:rPr lang="fr-FR" sz="2000" dirty="0">
                <a:latin typeface="Sakkal Majalla" panose="02000000000000000000" pitchFamily="2" charset="-78"/>
                <a:cs typeface="Sakkal Majalla" panose="02000000000000000000" pitchFamily="2" charset="-78"/>
              </a:rPr>
              <a:t> </a:t>
            </a:r>
            <a:r>
              <a:rPr lang="ar-MA" sz="2000" kern="0" dirty="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انشاء هيأة وطنية للتوجيه في مجال تدبير الموارد البشرية والتكوين مع إعطاء مسؤولية  الاشراف على التكوين للجهات </a:t>
            </a:r>
            <a:endParaRPr lang="fr-FR" sz="2000" kern="0" dirty="0">
              <a:solidFill>
                <a:schemeClr val="tx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11" name="Forme libre 10">
            <a:extLst>
              <a:ext uri="{FF2B5EF4-FFF2-40B4-BE49-F238E27FC236}">
                <a16:creationId xmlns:a16="http://schemas.microsoft.com/office/drawing/2014/main" id="{9C3D8705-FD36-38E8-C74C-332925A3AE05}"/>
              </a:ext>
            </a:extLst>
          </p:cNvPr>
          <p:cNvSpPr/>
          <p:nvPr/>
        </p:nvSpPr>
        <p:spPr>
          <a:xfrm>
            <a:off x="250301" y="2785429"/>
            <a:ext cx="4804876" cy="3312000"/>
          </a:xfrm>
          <a:custGeom>
            <a:avLst/>
            <a:gdLst>
              <a:gd name="connsiteX0" fmla="*/ 0 w 4294258"/>
              <a:gd name="connsiteY0" fmla="*/ 0 h 2633655"/>
              <a:gd name="connsiteX1" fmla="*/ 4294258 w 4294258"/>
              <a:gd name="connsiteY1" fmla="*/ 0 h 2633655"/>
              <a:gd name="connsiteX2" fmla="*/ 4294258 w 4294258"/>
              <a:gd name="connsiteY2" fmla="*/ 2633655 h 2633655"/>
              <a:gd name="connsiteX3" fmla="*/ 0 w 4294258"/>
              <a:gd name="connsiteY3" fmla="*/ 2633655 h 2633655"/>
              <a:gd name="connsiteX4" fmla="*/ 0 w 4294258"/>
              <a:gd name="connsiteY4" fmla="*/ 0 h 26336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94258" h="2633655">
                <a:moveTo>
                  <a:pt x="0" y="0"/>
                </a:moveTo>
                <a:lnTo>
                  <a:pt x="4294258" y="0"/>
                </a:lnTo>
                <a:lnTo>
                  <a:pt x="4294258" y="2633655"/>
                </a:lnTo>
                <a:lnTo>
                  <a:pt x="0" y="2633655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6">
              <a:alpha val="90000"/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114300" lvl="1" indent="-114300" algn="just" defTabSz="622300" rtl="1">
              <a:spcAft>
                <a:spcPts val="600"/>
              </a:spcAft>
              <a:buChar char="••"/>
            </a:pPr>
            <a:r>
              <a:rPr lang="ar-MA" sz="1600" b="0" kern="0" dirty="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إنشاء هيأة وطنية للتوجيه في مجال تدبير الموارد البشرية و التكوين تظم هذه هيأة وطنية ممثلين عن الدولة، الجهات و الجماعات الترابية الأخرى</a:t>
            </a:r>
          </a:p>
          <a:p>
            <a:pPr marL="114300" lvl="1" indent="-114300" algn="just" defTabSz="622300" rtl="1">
              <a:spcAft>
                <a:spcPts val="600"/>
              </a:spcAft>
              <a:buFontTx/>
              <a:buChar char="••"/>
            </a:pPr>
            <a:r>
              <a:rPr lang="ar-MA" sz="1600" b="0" kern="0" dirty="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إعطاء مسؤولية الاشراف على التكوين للجهات</a:t>
            </a:r>
          </a:p>
          <a:p>
            <a:pPr marL="114300" lvl="1" indent="-114300" algn="just" defTabSz="622300" rtl="1">
              <a:spcAft>
                <a:spcPts val="600"/>
              </a:spcAft>
              <a:buChar char="••"/>
            </a:pPr>
            <a:r>
              <a:rPr lang="ar-MA" sz="1600" b="0" kern="0" dirty="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احتفاظ المديرية العامة للجماعات الترابية بدور استشرافي من خلال مرصد الوطني للمهن الجماعية و إشراف على التكوين الأولي المختص لفائدة الجماعات الترابية و تقديم الدعم للجهات في مهامها  الجديدة الموكلة لها</a:t>
            </a:r>
          </a:p>
        </p:txBody>
      </p:sp>
      <p:sp>
        <p:nvSpPr>
          <p:cNvPr id="12" name="Pentagone 11">
            <a:extLst>
              <a:ext uri="{FF2B5EF4-FFF2-40B4-BE49-F238E27FC236}">
                <a16:creationId xmlns:a16="http://schemas.microsoft.com/office/drawing/2014/main" id="{BDED5364-0592-4807-0608-3832674C7928}"/>
              </a:ext>
            </a:extLst>
          </p:cNvPr>
          <p:cNvSpPr/>
          <p:nvPr/>
        </p:nvSpPr>
        <p:spPr>
          <a:xfrm rot="10800000">
            <a:off x="5247208" y="2785429"/>
            <a:ext cx="509291" cy="3312000"/>
          </a:xfrm>
          <a:prstGeom prst="homePlate">
            <a:avLst>
              <a:gd name="adj" fmla="val 100000"/>
            </a:avLst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400" dirty="0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414074965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10" grpId="0" animBg="1"/>
      <p:bldP spid="11" grpId="0" animBg="1"/>
      <p:bldP spid="12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98065"/>
            <a:ext cx="9906000" cy="492443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>
            <a:spAutoFit/>
          </a:bodyPr>
          <a:lstStyle/>
          <a:p>
            <a:pPr algn="ctr" rtl="1"/>
            <a:r>
              <a:rPr lang="fr-FR" sz="2600" dirty="0">
                <a:solidFill>
                  <a:schemeClr val="bg1"/>
                </a:solidFill>
                <a:latin typeface="Sakkal Majalla" panose="02000000000000000000" pitchFamily="2" charset="-78"/>
                <a:ea typeface="Calibri"/>
                <a:cs typeface="Sakkal Majalla" panose="02000000000000000000" pitchFamily="2" charset="-78"/>
              </a:rPr>
              <a:t>     </a:t>
            </a:r>
            <a:r>
              <a:rPr lang="ar-MA" sz="2400" dirty="0">
                <a:solidFill>
                  <a:schemeClr val="bg1"/>
                </a:solidFill>
                <a:latin typeface="Sakkal Majalla" panose="02000000000000000000" pitchFamily="2" charset="-78"/>
                <a:ea typeface="Calibri"/>
                <a:cs typeface="Sakkal Majalla" panose="02000000000000000000" pitchFamily="2" charset="-78"/>
              </a:rPr>
              <a:t>المحور  الأول : نظام الحكامة الجديد  للتكوين يضمن توزيع ملائم للأدوار و المهام بين مختلف المتدخلين</a:t>
            </a:r>
            <a:endParaRPr lang="fr-FR" sz="2000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FE67769-B51D-3616-3CF1-9D22600866E1}"/>
              </a:ext>
            </a:extLst>
          </p:cNvPr>
          <p:cNvSpPr/>
          <p:nvPr/>
        </p:nvSpPr>
        <p:spPr>
          <a:xfrm>
            <a:off x="0" y="6605149"/>
            <a:ext cx="9906000" cy="154786"/>
          </a:xfrm>
          <a:prstGeom prst="rect">
            <a:avLst/>
          </a:prstGeom>
          <a:solidFill>
            <a:srgbClr val="34486E"/>
          </a:solidFill>
        </p:spPr>
        <p:txBody>
          <a:bodyPr wrap="square">
            <a:spAutoFit/>
          </a:bodyPr>
          <a:lstStyle/>
          <a:p>
            <a:pPr algn="ctr"/>
            <a:endParaRPr lang="fr-FR" sz="406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F75FC789-140B-5D28-8FBD-29819062B5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58515" y="115377"/>
            <a:ext cx="492903" cy="475131"/>
          </a:xfrm>
          <a:prstGeom prst="rect">
            <a:avLst/>
          </a:prstGeom>
        </p:spPr>
      </p:pic>
      <p:sp>
        <p:nvSpPr>
          <p:cNvPr id="13" name="Ellipse 12">
            <a:extLst>
              <a:ext uri="{FF2B5EF4-FFF2-40B4-BE49-F238E27FC236}">
                <a16:creationId xmlns:a16="http://schemas.microsoft.com/office/drawing/2014/main" id="{FC54A6CB-1802-F88C-224F-68CF499DDB98}"/>
              </a:ext>
            </a:extLst>
          </p:cNvPr>
          <p:cNvSpPr/>
          <p:nvPr/>
        </p:nvSpPr>
        <p:spPr>
          <a:xfrm>
            <a:off x="2409206" y="1693236"/>
            <a:ext cx="5422188" cy="4609419"/>
          </a:xfrm>
          <a:prstGeom prst="ellipse">
            <a:avLst/>
          </a:prstGeom>
          <a:noFill/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FR" b="0" dirty="0">
              <a:solidFill>
                <a:prstClr val="black">
                  <a:lumMod val="85000"/>
                  <a:lumOff val="15000"/>
                </a:prstClr>
              </a:solidFill>
            </a:endParaRPr>
          </a:p>
        </p:txBody>
      </p:sp>
      <p:sp>
        <p:nvSpPr>
          <p:cNvPr id="14" name="Forme libre 18">
            <a:extLst>
              <a:ext uri="{FF2B5EF4-FFF2-40B4-BE49-F238E27FC236}">
                <a16:creationId xmlns:a16="http://schemas.microsoft.com/office/drawing/2014/main" id="{FD481837-575A-77CD-A1E2-5864F39921C1}"/>
              </a:ext>
            </a:extLst>
          </p:cNvPr>
          <p:cNvSpPr/>
          <p:nvPr/>
        </p:nvSpPr>
        <p:spPr>
          <a:xfrm>
            <a:off x="379029" y="1658087"/>
            <a:ext cx="2772000" cy="652550"/>
          </a:xfrm>
          <a:custGeom>
            <a:avLst/>
            <a:gdLst>
              <a:gd name="connsiteX0" fmla="*/ 0 w 1400372"/>
              <a:gd name="connsiteY0" fmla="*/ 0 h 412646"/>
              <a:gd name="connsiteX1" fmla="*/ 1400372 w 1400372"/>
              <a:gd name="connsiteY1" fmla="*/ 0 h 412646"/>
              <a:gd name="connsiteX2" fmla="*/ 1400372 w 1400372"/>
              <a:gd name="connsiteY2" fmla="*/ 412646 h 412646"/>
              <a:gd name="connsiteX3" fmla="*/ 0 w 1400372"/>
              <a:gd name="connsiteY3" fmla="*/ 412646 h 412646"/>
              <a:gd name="connsiteX4" fmla="*/ 0 w 1400372"/>
              <a:gd name="connsiteY4" fmla="*/ 0 h 4126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0372" h="412646">
                <a:moveTo>
                  <a:pt x="0" y="0"/>
                </a:moveTo>
                <a:lnTo>
                  <a:pt x="1400372" y="0"/>
                </a:lnTo>
                <a:lnTo>
                  <a:pt x="1400372" y="412646"/>
                </a:lnTo>
                <a:lnTo>
                  <a:pt x="0" y="412646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rgbClr val="34486E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spcFirstLastPara="0" vert="horz" wrap="square" lIns="85344" tIns="48768" rIns="85344" bIns="48768" numCol="1" spcCol="1270" anchor="ctr" anchorCtr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33400" rtl="1">
              <a:lnSpc>
                <a:spcPct val="90000"/>
              </a:lnSpc>
              <a:spcAft>
                <a:spcPct val="35000"/>
              </a:spcAft>
            </a:pPr>
            <a:endParaRPr lang="ar-MA" sz="1400" kern="0" dirty="0">
              <a:solidFill>
                <a:schemeClr val="tx1"/>
              </a:solidFill>
              <a:cs typeface="Calibri" panose="020F0502020204030204" pitchFamily="34" charset="0"/>
            </a:endParaRPr>
          </a:p>
          <a:p>
            <a:pPr algn="ctr" defTabSz="533400" rtl="1">
              <a:spcAft>
                <a:spcPct val="35000"/>
              </a:spcAft>
            </a:pPr>
            <a:r>
              <a:rPr lang="ar-MA" sz="1400" kern="0" dirty="0">
                <a:solidFill>
                  <a:schemeClr val="tx1"/>
                </a:solidFill>
                <a:cs typeface="Calibri" panose="020F0502020204030204" pitchFamily="34" charset="0"/>
              </a:rPr>
              <a:t>المديرية العامة للجماعات الترابية:</a:t>
            </a:r>
          </a:p>
          <a:p>
            <a:pPr algn="ctr" defTabSz="533400" rtl="1">
              <a:spcAft>
                <a:spcPct val="35000"/>
              </a:spcAft>
            </a:pPr>
            <a:r>
              <a:rPr lang="ar-MA" sz="1400" kern="0" dirty="0">
                <a:solidFill>
                  <a:schemeClr val="tx1"/>
                </a:solidFill>
                <a:cs typeface="Calibri" panose="020F0502020204030204" pitchFamily="34" charset="0"/>
              </a:rPr>
              <a:t> </a:t>
            </a:r>
            <a:r>
              <a:rPr lang="ar-MA" sz="1400" kern="0" dirty="0">
                <a:solidFill>
                  <a:schemeClr val="accent3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Calibri" panose="020F0502020204030204" pitchFamily="34" charset="0"/>
              </a:rPr>
              <a:t>دور مواكبة</a:t>
            </a:r>
            <a:endParaRPr lang="fr-FR" sz="1400" dirty="0">
              <a:solidFill>
                <a:schemeClr val="accent3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Calibri" pitchFamily="34" charset="0"/>
            </a:endParaRPr>
          </a:p>
          <a:p>
            <a:pPr algn="ctr" defTabSz="533400">
              <a:lnSpc>
                <a:spcPct val="90000"/>
              </a:lnSpc>
              <a:spcAft>
                <a:spcPct val="35000"/>
              </a:spcAft>
            </a:pPr>
            <a:endParaRPr lang="fr-FR" sz="1400" kern="0" dirty="0">
              <a:solidFill>
                <a:schemeClr val="tx1"/>
              </a:solidFill>
              <a:cs typeface="Calibri" panose="020F0502020204030204" pitchFamily="34" charset="0"/>
            </a:endParaRPr>
          </a:p>
        </p:txBody>
      </p:sp>
      <p:sp>
        <p:nvSpPr>
          <p:cNvPr id="15" name="Forme libre 19">
            <a:extLst>
              <a:ext uri="{FF2B5EF4-FFF2-40B4-BE49-F238E27FC236}">
                <a16:creationId xmlns:a16="http://schemas.microsoft.com/office/drawing/2014/main" id="{FF3AFADA-726C-38D6-9F35-191E0B130EBC}"/>
              </a:ext>
            </a:extLst>
          </p:cNvPr>
          <p:cNvSpPr/>
          <p:nvPr/>
        </p:nvSpPr>
        <p:spPr>
          <a:xfrm>
            <a:off x="365614" y="2434433"/>
            <a:ext cx="2772000" cy="2326791"/>
          </a:xfrm>
          <a:custGeom>
            <a:avLst/>
            <a:gdLst>
              <a:gd name="connsiteX0" fmla="*/ 0 w 1400372"/>
              <a:gd name="connsiteY0" fmla="*/ 0 h 2635200"/>
              <a:gd name="connsiteX1" fmla="*/ 1400372 w 1400372"/>
              <a:gd name="connsiteY1" fmla="*/ 0 h 2635200"/>
              <a:gd name="connsiteX2" fmla="*/ 1400372 w 1400372"/>
              <a:gd name="connsiteY2" fmla="*/ 2635200 h 2635200"/>
              <a:gd name="connsiteX3" fmla="*/ 0 w 1400372"/>
              <a:gd name="connsiteY3" fmla="*/ 2635200 h 2635200"/>
              <a:gd name="connsiteX4" fmla="*/ 0 w 1400372"/>
              <a:gd name="connsiteY4" fmla="*/ 0 h 263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0372" h="2635200">
                <a:moveTo>
                  <a:pt x="0" y="0"/>
                </a:moveTo>
                <a:lnTo>
                  <a:pt x="1400372" y="0"/>
                </a:lnTo>
                <a:lnTo>
                  <a:pt x="1400372" y="2635200"/>
                </a:lnTo>
                <a:lnTo>
                  <a:pt x="0" y="26352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  <a:alpha val="89804"/>
            </a:schemeClr>
          </a:solidFill>
          <a:ln w="3175">
            <a:solidFill>
              <a:srgbClr val="FFCA21"/>
            </a:solidFill>
          </a:ln>
        </p:spPr>
        <p:style>
          <a:lnRef idx="2">
            <a:schemeClr val="accent6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6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6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4008" tIns="64008" rIns="85344" bIns="96012" numCol="1" spcCol="1270" anchor="t" anchorCtr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4300" lvl="1" indent="-114300" algn="r" defTabSz="533400" rtl="1">
              <a:lnSpc>
                <a:spcPct val="90000"/>
              </a:lnSpc>
              <a:spcAft>
                <a:spcPct val="15000"/>
              </a:spcAft>
              <a:buFontTx/>
              <a:buChar char="••"/>
            </a:pPr>
            <a:r>
              <a:rPr lang="ar-MA" sz="1400" b="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cs typeface="Calibri" pitchFamily="34" charset="0"/>
              </a:rPr>
              <a:t>مواكبة للجماعات الترابية في محال تقوية القدرات الموارد البشرية :</a:t>
            </a:r>
          </a:p>
          <a:p>
            <a:pPr marL="363538" lvl="2" indent="-95250" algn="r" defTabSz="533400" rtl="1">
              <a:lnSpc>
                <a:spcPct val="90000"/>
              </a:lnSpc>
              <a:spcAft>
                <a:spcPct val="15000"/>
              </a:spcAft>
              <a:buFontTx/>
              <a:buChar char="••"/>
            </a:pPr>
            <a:r>
              <a:rPr lang="ar-MA" sz="1400" b="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cs typeface="Calibri" pitchFamily="34" charset="0"/>
              </a:rPr>
              <a:t>تقديم الاستشارة في  هندسة التكوين</a:t>
            </a:r>
          </a:p>
          <a:p>
            <a:pPr marL="363538" lvl="2" indent="-95250" algn="r" defTabSz="533400" rtl="1">
              <a:lnSpc>
                <a:spcPct val="90000"/>
              </a:lnSpc>
              <a:spcAft>
                <a:spcPct val="15000"/>
              </a:spcAft>
              <a:buFontTx/>
              <a:buChar char="••"/>
            </a:pPr>
            <a:r>
              <a:rPr lang="ar-MA" sz="1400" b="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cs typeface="Calibri" pitchFamily="34" charset="0"/>
              </a:rPr>
              <a:t>تدبير شبكة الوطنية للمكونين الداخليين </a:t>
            </a:r>
          </a:p>
          <a:p>
            <a:pPr marL="363538" lvl="2" indent="-95250" algn="r" defTabSz="533400" rtl="1">
              <a:lnSpc>
                <a:spcPct val="90000"/>
              </a:lnSpc>
              <a:spcAft>
                <a:spcPct val="15000"/>
              </a:spcAft>
              <a:buFontTx/>
              <a:buChar char="••"/>
            </a:pPr>
            <a:r>
              <a:rPr lang="ar-MA" sz="1400" b="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cs typeface="Calibri" pitchFamily="34" charset="0"/>
              </a:rPr>
              <a:t>تطوير التكوين عن بعد</a:t>
            </a:r>
          </a:p>
          <a:p>
            <a:pPr marL="363538" lvl="2" indent="-95250" algn="r" defTabSz="533400" rtl="1">
              <a:lnSpc>
                <a:spcPct val="90000"/>
              </a:lnSpc>
              <a:spcAft>
                <a:spcPct val="15000"/>
              </a:spcAft>
              <a:buFontTx/>
              <a:buChar char="••"/>
            </a:pPr>
            <a:r>
              <a:rPr lang="ar-MA" sz="1400" b="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cs typeface="Calibri" pitchFamily="34" charset="0"/>
              </a:rPr>
              <a:t>الإشراف على مراكز التكوين ما بين الجهات</a:t>
            </a:r>
          </a:p>
          <a:p>
            <a:pPr marL="363538" lvl="2" indent="-95250" algn="r" defTabSz="533400" rtl="1">
              <a:lnSpc>
                <a:spcPct val="90000"/>
              </a:lnSpc>
              <a:spcAft>
                <a:spcPct val="15000"/>
              </a:spcAft>
              <a:buFontTx/>
              <a:buChar char="••"/>
            </a:pPr>
            <a:r>
              <a:rPr lang="ar-MA" sz="1400" b="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cs typeface="Calibri" pitchFamily="34" charset="0"/>
              </a:rPr>
              <a:t>إشراف على أسلاك التكوين المختص </a:t>
            </a:r>
          </a:p>
          <a:p>
            <a:pPr marL="363538" lvl="2" indent="-95250" algn="r" defTabSz="533400" rtl="1">
              <a:lnSpc>
                <a:spcPct val="90000"/>
              </a:lnSpc>
              <a:spcAft>
                <a:spcPct val="15000"/>
              </a:spcAft>
              <a:buFontTx/>
              <a:buChar char="••"/>
            </a:pPr>
            <a:r>
              <a:rPr lang="ar-MA" sz="1400" b="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cs typeface="Calibri" pitchFamily="34" charset="0"/>
              </a:rPr>
              <a:t>مرصد المهن الجماعية </a:t>
            </a:r>
          </a:p>
          <a:p>
            <a:pPr marL="363538" lvl="2" indent="-95250" algn="r" defTabSz="533400" rtl="1">
              <a:lnSpc>
                <a:spcPct val="90000"/>
              </a:lnSpc>
              <a:spcAft>
                <a:spcPct val="15000"/>
              </a:spcAft>
              <a:buFontTx/>
              <a:buChar char="••"/>
            </a:pPr>
            <a:endParaRPr lang="ar-MA" sz="1400" b="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cs typeface="Calibri" pitchFamily="34" charset="0"/>
            </a:endParaRPr>
          </a:p>
        </p:txBody>
      </p:sp>
      <p:sp>
        <p:nvSpPr>
          <p:cNvPr id="16" name="Forme libre 22">
            <a:extLst>
              <a:ext uri="{FF2B5EF4-FFF2-40B4-BE49-F238E27FC236}">
                <a16:creationId xmlns:a16="http://schemas.microsoft.com/office/drawing/2014/main" id="{4F7E72D5-7457-2C12-F521-6630D9D2FD20}"/>
              </a:ext>
            </a:extLst>
          </p:cNvPr>
          <p:cNvSpPr/>
          <p:nvPr/>
        </p:nvSpPr>
        <p:spPr>
          <a:xfrm>
            <a:off x="763582" y="5001643"/>
            <a:ext cx="2772000" cy="564367"/>
          </a:xfrm>
          <a:custGeom>
            <a:avLst/>
            <a:gdLst>
              <a:gd name="connsiteX0" fmla="*/ 0 w 1400372"/>
              <a:gd name="connsiteY0" fmla="*/ 0 h 412646"/>
              <a:gd name="connsiteX1" fmla="*/ 1400372 w 1400372"/>
              <a:gd name="connsiteY1" fmla="*/ 0 h 412646"/>
              <a:gd name="connsiteX2" fmla="*/ 1400372 w 1400372"/>
              <a:gd name="connsiteY2" fmla="*/ 412646 h 412646"/>
              <a:gd name="connsiteX3" fmla="*/ 0 w 1400372"/>
              <a:gd name="connsiteY3" fmla="*/ 412646 h 412646"/>
              <a:gd name="connsiteX4" fmla="*/ 0 w 1400372"/>
              <a:gd name="connsiteY4" fmla="*/ 0 h 4126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0372" h="412646">
                <a:moveTo>
                  <a:pt x="0" y="0"/>
                </a:moveTo>
                <a:lnTo>
                  <a:pt x="1400372" y="0"/>
                </a:lnTo>
                <a:lnTo>
                  <a:pt x="1400372" y="412646"/>
                </a:lnTo>
                <a:lnTo>
                  <a:pt x="0" y="412646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rgbClr val="34486E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spcFirstLastPara="0" vert="horz" wrap="square" lIns="85344" tIns="48768" rIns="85344" bIns="48768" numCol="1" spcCol="1270" anchor="ctr" anchorCtr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33400" rtl="1">
              <a:lnSpc>
                <a:spcPct val="90000"/>
              </a:lnSpc>
              <a:spcAft>
                <a:spcPct val="35000"/>
              </a:spcAft>
            </a:pPr>
            <a:endParaRPr lang="ar-MA" sz="1400" kern="0" dirty="0">
              <a:solidFill>
                <a:schemeClr val="tx1"/>
              </a:solidFill>
              <a:cs typeface="Calibri" panose="020F0502020204030204" pitchFamily="34" charset="0"/>
            </a:endParaRPr>
          </a:p>
          <a:p>
            <a:pPr algn="ctr" defTabSz="533400" rtl="1">
              <a:lnSpc>
                <a:spcPct val="90000"/>
              </a:lnSpc>
              <a:spcAft>
                <a:spcPct val="35000"/>
              </a:spcAft>
            </a:pPr>
            <a:r>
              <a:rPr lang="ar-MA" sz="1400" kern="0" dirty="0">
                <a:solidFill>
                  <a:schemeClr val="tx1"/>
                </a:solidFill>
                <a:cs typeface="Calibri" panose="020F0502020204030204" pitchFamily="34" charset="0"/>
              </a:rPr>
              <a:t>ولاية عمالة أو الإقليم :</a:t>
            </a:r>
          </a:p>
          <a:p>
            <a:pPr algn="ctr" defTabSz="533400" rtl="1">
              <a:lnSpc>
                <a:spcPct val="90000"/>
              </a:lnSpc>
              <a:spcAft>
                <a:spcPct val="35000"/>
              </a:spcAft>
            </a:pPr>
            <a:r>
              <a:rPr lang="ar-MA" sz="1400" kern="0" dirty="0">
                <a:solidFill>
                  <a:schemeClr val="accent3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Calibri" panose="020F0502020204030204" pitchFamily="34" charset="0"/>
              </a:rPr>
              <a:t>دور دعم  التنفيذ</a:t>
            </a:r>
            <a:endParaRPr lang="fr-FR" sz="1400" kern="0" dirty="0">
              <a:solidFill>
                <a:schemeClr val="accent3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Calibri" panose="020F0502020204030204" pitchFamily="34" charset="0"/>
            </a:endParaRPr>
          </a:p>
          <a:p>
            <a:pPr algn="ctr" defTabSz="533400" rtl="1">
              <a:lnSpc>
                <a:spcPct val="90000"/>
              </a:lnSpc>
              <a:spcAft>
                <a:spcPct val="35000"/>
              </a:spcAft>
            </a:pPr>
            <a:endParaRPr lang="fr-FR" sz="1400" kern="0" dirty="0">
              <a:solidFill>
                <a:schemeClr val="tx1"/>
              </a:solidFill>
              <a:cs typeface="Calibri" panose="020F0502020204030204" pitchFamily="34" charset="0"/>
            </a:endParaRPr>
          </a:p>
        </p:txBody>
      </p:sp>
      <p:sp>
        <p:nvSpPr>
          <p:cNvPr id="17" name="Forme libre 23">
            <a:extLst>
              <a:ext uri="{FF2B5EF4-FFF2-40B4-BE49-F238E27FC236}">
                <a16:creationId xmlns:a16="http://schemas.microsoft.com/office/drawing/2014/main" id="{2CB8667C-516B-238F-7C3D-6FB0A35142AF}"/>
              </a:ext>
            </a:extLst>
          </p:cNvPr>
          <p:cNvSpPr/>
          <p:nvPr/>
        </p:nvSpPr>
        <p:spPr>
          <a:xfrm>
            <a:off x="763582" y="5652864"/>
            <a:ext cx="2772000" cy="743280"/>
          </a:xfrm>
          <a:custGeom>
            <a:avLst/>
            <a:gdLst>
              <a:gd name="connsiteX0" fmla="*/ 0 w 1400372"/>
              <a:gd name="connsiteY0" fmla="*/ 0 h 2635200"/>
              <a:gd name="connsiteX1" fmla="*/ 1400372 w 1400372"/>
              <a:gd name="connsiteY1" fmla="*/ 0 h 2635200"/>
              <a:gd name="connsiteX2" fmla="*/ 1400372 w 1400372"/>
              <a:gd name="connsiteY2" fmla="*/ 2635200 h 2635200"/>
              <a:gd name="connsiteX3" fmla="*/ 0 w 1400372"/>
              <a:gd name="connsiteY3" fmla="*/ 2635200 h 2635200"/>
              <a:gd name="connsiteX4" fmla="*/ 0 w 1400372"/>
              <a:gd name="connsiteY4" fmla="*/ 0 h 263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0372" h="2635200">
                <a:moveTo>
                  <a:pt x="0" y="0"/>
                </a:moveTo>
                <a:lnTo>
                  <a:pt x="1400372" y="0"/>
                </a:lnTo>
                <a:lnTo>
                  <a:pt x="1400372" y="2635200"/>
                </a:lnTo>
                <a:lnTo>
                  <a:pt x="0" y="26352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  <a:alpha val="89804"/>
            </a:schemeClr>
          </a:solidFill>
          <a:ln w="3175">
            <a:solidFill>
              <a:srgbClr val="FFCA21"/>
            </a:solidFill>
          </a:ln>
        </p:spPr>
        <p:style>
          <a:lnRef idx="2">
            <a:schemeClr val="accent6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6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6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4008" tIns="64008" rIns="85344" bIns="96012" numCol="1" spcCol="1270" anchor="t" anchorCtr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4300" lvl="1" indent="-114300" algn="just" defTabSz="533400" rtl="1">
              <a:lnSpc>
                <a:spcPct val="90000"/>
              </a:lnSpc>
              <a:spcAft>
                <a:spcPct val="15000"/>
              </a:spcAft>
              <a:buFontTx/>
              <a:buChar char="••"/>
            </a:pPr>
            <a:r>
              <a:rPr lang="ar-MA" sz="1400" b="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cs typeface="Calibri" pitchFamily="34" charset="0"/>
              </a:rPr>
              <a:t>دعم الجهات و الجماعات الترابية في إعداد و تنفيذ  مخططات و برامج التنفيذ لفائدة الموارد البشرية الجماعية</a:t>
            </a:r>
            <a:endParaRPr lang="fr-FR" sz="14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cs typeface="Calibri" pitchFamily="34" charset="0"/>
            </a:endParaRPr>
          </a:p>
        </p:txBody>
      </p:sp>
      <p:sp>
        <p:nvSpPr>
          <p:cNvPr id="18" name="Forme libre 24">
            <a:extLst>
              <a:ext uri="{FF2B5EF4-FFF2-40B4-BE49-F238E27FC236}">
                <a16:creationId xmlns:a16="http://schemas.microsoft.com/office/drawing/2014/main" id="{3FDA2B75-6AED-14F2-AC63-510A6D84ADEC}"/>
              </a:ext>
            </a:extLst>
          </p:cNvPr>
          <p:cNvSpPr/>
          <p:nvPr/>
        </p:nvSpPr>
        <p:spPr>
          <a:xfrm>
            <a:off x="6919127" y="1615820"/>
            <a:ext cx="2772000" cy="613809"/>
          </a:xfrm>
          <a:custGeom>
            <a:avLst/>
            <a:gdLst>
              <a:gd name="connsiteX0" fmla="*/ 0 w 1400372"/>
              <a:gd name="connsiteY0" fmla="*/ 0 h 412646"/>
              <a:gd name="connsiteX1" fmla="*/ 1400372 w 1400372"/>
              <a:gd name="connsiteY1" fmla="*/ 0 h 412646"/>
              <a:gd name="connsiteX2" fmla="*/ 1400372 w 1400372"/>
              <a:gd name="connsiteY2" fmla="*/ 412646 h 412646"/>
              <a:gd name="connsiteX3" fmla="*/ 0 w 1400372"/>
              <a:gd name="connsiteY3" fmla="*/ 412646 h 412646"/>
              <a:gd name="connsiteX4" fmla="*/ 0 w 1400372"/>
              <a:gd name="connsiteY4" fmla="*/ 0 h 4126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0372" h="412646">
                <a:moveTo>
                  <a:pt x="0" y="0"/>
                </a:moveTo>
                <a:lnTo>
                  <a:pt x="1400372" y="0"/>
                </a:lnTo>
                <a:lnTo>
                  <a:pt x="1400372" y="412646"/>
                </a:lnTo>
                <a:lnTo>
                  <a:pt x="0" y="412646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rgbClr val="34486E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spcFirstLastPara="0" vert="horz" wrap="square" lIns="85344" tIns="48768" rIns="85344" bIns="48768" numCol="1" spcCol="1270" anchor="ctr" anchorCtr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33400" rtl="1">
              <a:lnSpc>
                <a:spcPct val="90000"/>
              </a:lnSpc>
              <a:spcAft>
                <a:spcPct val="35000"/>
              </a:spcAft>
            </a:pPr>
            <a:r>
              <a:rPr lang="ar-MA" sz="1400" kern="0" dirty="0">
                <a:solidFill>
                  <a:schemeClr val="tx1"/>
                </a:solidFill>
                <a:cs typeface="Calibri" panose="020F0502020204030204" pitchFamily="34" charset="0"/>
              </a:rPr>
              <a:t>الجهات :</a:t>
            </a:r>
          </a:p>
          <a:p>
            <a:pPr algn="ctr" defTabSz="533400" rtl="1">
              <a:lnSpc>
                <a:spcPct val="90000"/>
              </a:lnSpc>
              <a:spcAft>
                <a:spcPct val="35000"/>
              </a:spcAft>
            </a:pPr>
            <a:r>
              <a:rPr lang="ar-MA" sz="1400" kern="0" dirty="0">
                <a:solidFill>
                  <a:schemeClr val="accent3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Calibri" panose="020F0502020204030204" pitchFamily="34" charset="0"/>
              </a:rPr>
              <a:t>دور الإشراف و التنفيذ</a:t>
            </a:r>
            <a:endParaRPr lang="fr-FR" sz="1400" kern="0" dirty="0">
              <a:solidFill>
                <a:schemeClr val="accent3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Calibri" panose="020F0502020204030204" pitchFamily="34" charset="0"/>
            </a:endParaRPr>
          </a:p>
        </p:txBody>
      </p:sp>
      <p:sp>
        <p:nvSpPr>
          <p:cNvPr id="19" name="Forme libre 25">
            <a:extLst>
              <a:ext uri="{FF2B5EF4-FFF2-40B4-BE49-F238E27FC236}">
                <a16:creationId xmlns:a16="http://schemas.microsoft.com/office/drawing/2014/main" id="{D78C942B-FEA5-B1A9-3B3C-461806F60939}"/>
              </a:ext>
            </a:extLst>
          </p:cNvPr>
          <p:cNvSpPr/>
          <p:nvPr/>
        </p:nvSpPr>
        <p:spPr>
          <a:xfrm>
            <a:off x="7023665" y="2630808"/>
            <a:ext cx="2772000" cy="1908000"/>
          </a:xfrm>
          <a:custGeom>
            <a:avLst/>
            <a:gdLst>
              <a:gd name="connsiteX0" fmla="*/ 0 w 1400372"/>
              <a:gd name="connsiteY0" fmla="*/ 0 h 2635200"/>
              <a:gd name="connsiteX1" fmla="*/ 1400372 w 1400372"/>
              <a:gd name="connsiteY1" fmla="*/ 0 h 2635200"/>
              <a:gd name="connsiteX2" fmla="*/ 1400372 w 1400372"/>
              <a:gd name="connsiteY2" fmla="*/ 2635200 h 2635200"/>
              <a:gd name="connsiteX3" fmla="*/ 0 w 1400372"/>
              <a:gd name="connsiteY3" fmla="*/ 2635200 h 2635200"/>
              <a:gd name="connsiteX4" fmla="*/ 0 w 1400372"/>
              <a:gd name="connsiteY4" fmla="*/ 0 h 263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0372" h="2635200">
                <a:moveTo>
                  <a:pt x="0" y="0"/>
                </a:moveTo>
                <a:lnTo>
                  <a:pt x="1400372" y="0"/>
                </a:lnTo>
                <a:lnTo>
                  <a:pt x="1400372" y="2635200"/>
                </a:lnTo>
                <a:lnTo>
                  <a:pt x="0" y="26352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  <a:alpha val="89804"/>
            </a:schemeClr>
          </a:solidFill>
          <a:ln w="3175">
            <a:solidFill>
              <a:srgbClr val="FFCA21"/>
            </a:solidFill>
          </a:ln>
        </p:spPr>
        <p:style>
          <a:lnRef idx="2">
            <a:schemeClr val="accent6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6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6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6000" tIns="36000" rIns="72000" bIns="72000" numCol="1" spcCol="1270" anchor="ctr" anchorCtr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4300" lvl="1" indent="-114300" algn="r" defTabSz="533400" rtl="1">
              <a:spcAft>
                <a:spcPts val="600"/>
              </a:spcAft>
              <a:buFontTx/>
              <a:buChar char="••"/>
            </a:pPr>
            <a:r>
              <a:rPr lang="ar-MA" sz="1400" b="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cs typeface="Calibri" pitchFamily="34" charset="0"/>
              </a:rPr>
              <a:t>تنسيق و تجميع حاجيات التكوين</a:t>
            </a:r>
          </a:p>
          <a:p>
            <a:pPr marL="114300" lvl="1" indent="-114300" algn="r" defTabSz="533400" rtl="1">
              <a:spcAft>
                <a:spcPts val="600"/>
              </a:spcAft>
              <a:buFontTx/>
              <a:buChar char="••"/>
            </a:pPr>
            <a:r>
              <a:rPr lang="ar-MA" sz="1400" b="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cs typeface="Calibri" pitchFamily="34" charset="0"/>
              </a:rPr>
              <a:t>الإشراف على إعداد المخططات الجهوية للتكوين</a:t>
            </a:r>
          </a:p>
          <a:p>
            <a:pPr marL="114300" lvl="1" indent="-114300" algn="r" defTabSz="533400" rtl="1">
              <a:spcAft>
                <a:spcPts val="600"/>
              </a:spcAft>
              <a:buFontTx/>
              <a:buChar char="••"/>
            </a:pPr>
            <a:r>
              <a:rPr lang="ar-MA" sz="1400" b="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cs typeface="Calibri" pitchFamily="34" charset="0"/>
              </a:rPr>
              <a:t>الإشراف على  تنفيذ برامج التكوين الجهوية</a:t>
            </a:r>
          </a:p>
          <a:p>
            <a:pPr marL="114300" lvl="1" indent="-114300" algn="r" defTabSz="533400" rtl="1">
              <a:spcAft>
                <a:spcPts val="600"/>
              </a:spcAft>
              <a:buFontTx/>
              <a:buChar char="••"/>
            </a:pPr>
            <a:r>
              <a:rPr lang="ar-MA" sz="1400" b="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cs typeface="Calibri" pitchFamily="34" charset="0"/>
              </a:rPr>
              <a:t>تدبير و تنسيق عملية تمويل التكوين بشراكة مع الجماعات الترابية</a:t>
            </a:r>
            <a:endParaRPr lang="fr-FR" sz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cs typeface="Calibri" pitchFamily="34" charset="0"/>
            </a:endParaRPr>
          </a:p>
        </p:txBody>
      </p:sp>
      <p:sp>
        <p:nvSpPr>
          <p:cNvPr id="20" name="Forme libre 27">
            <a:extLst>
              <a:ext uri="{FF2B5EF4-FFF2-40B4-BE49-F238E27FC236}">
                <a16:creationId xmlns:a16="http://schemas.microsoft.com/office/drawing/2014/main" id="{92EDC567-0FB2-7E85-4D1C-7574A42677E9}"/>
              </a:ext>
            </a:extLst>
          </p:cNvPr>
          <p:cNvSpPr/>
          <p:nvPr/>
        </p:nvSpPr>
        <p:spPr>
          <a:xfrm>
            <a:off x="6355394" y="5003968"/>
            <a:ext cx="2952000" cy="481971"/>
          </a:xfrm>
          <a:custGeom>
            <a:avLst/>
            <a:gdLst>
              <a:gd name="connsiteX0" fmla="*/ 0 w 1400372"/>
              <a:gd name="connsiteY0" fmla="*/ 0 h 412646"/>
              <a:gd name="connsiteX1" fmla="*/ 1400372 w 1400372"/>
              <a:gd name="connsiteY1" fmla="*/ 0 h 412646"/>
              <a:gd name="connsiteX2" fmla="*/ 1400372 w 1400372"/>
              <a:gd name="connsiteY2" fmla="*/ 412646 h 412646"/>
              <a:gd name="connsiteX3" fmla="*/ 0 w 1400372"/>
              <a:gd name="connsiteY3" fmla="*/ 412646 h 412646"/>
              <a:gd name="connsiteX4" fmla="*/ 0 w 1400372"/>
              <a:gd name="connsiteY4" fmla="*/ 0 h 4126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0372" h="412646">
                <a:moveTo>
                  <a:pt x="0" y="0"/>
                </a:moveTo>
                <a:lnTo>
                  <a:pt x="1400372" y="0"/>
                </a:lnTo>
                <a:lnTo>
                  <a:pt x="1400372" y="412646"/>
                </a:lnTo>
                <a:lnTo>
                  <a:pt x="0" y="412646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rgbClr val="34486E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spcFirstLastPara="0" vert="horz" wrap="square" lIns="85344" tIns="48768" rIns="85344" bIns="48768" numCol="1" spcCol="1270" anchor="ctr" anchorCtr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33400" rtl="1">
              <a:lnSpc>
                <a:spcPct val="90000"/>
              </a:lnSpc>
              <a:spcAft>
                <a:spcPct val="35000"/>
              </a:spcAft>
            </a:pPr>
            <a:r>
              <a:rPr lang="ar-MA" sz="1400" kern="0" dirty="0">
                <a:solidFill>
                  <a:schemeClr val="tx1"/>
                </a:solidFill>
                <a:cs typeface="Calibri" panose="020F0502020204030204" pitchFamily="34" charset="0"/>
              </a:rPr>
              <a:t>الجماعات الترابية</a:t>
            </a:r>
            <a:r>
              <a:rPr lang="ar-MA" sz="1200" kern="0" dirty="0">
                <a:solidFill>
                  <a:schemeClr val="tx1"/>
                </a:solidFill>
                <a:cs typeface="Calibri" panose="020F0502020204030204" pitchFamily="34" charset="0"/>
              </a:rPr>
              <a:t> :</a:t>
            </a:r>
          </a:p>
          <a:p>
            <a:pPr algn="ctr" defTabSz="533400" rtl="1">
              <a:lnSpc>
                <a:spcPct val="90000"/>
              </a:lnSpc>
              <a:spcAft>
                <a:spcPct val="35000"/>
              </a:spcAft>
            </a:pPr>
            <a:r>
              <a:rPr lang="ar-MA" sz="1400" kern="0" dirty="0">
                <a:solidFill>
                  <a:schemeClr val="accent3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Calibri" panose="020F0502020204030204" pitchFamily="34" charset="0"/>
              </a:rPr>
              <a:t>دور التنفيذ</a:t>
            </a:r>
            <a:endParaRPr lang="fr-FR" sz="1400" kern="0" dirty="0">
              <a:solidFill>
                <a:schemeClr val="accent3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Calibri" panose="020F0502020204030204" pitchFamily="34" charset="0"/>
            </a:endParaRPr>
          </a:p>
        </p:txBody>
      </p:sp>
      <p:sp>
        <p:nvSpPr>
          <p:cNvPr id="21" name="Forme libre 28">
            <a:extLst>
              <a:ext uri="{FF2B5EF4-FFF2-40B4-BE49-F238E27FC236}">
                <a16:creationId xmlns:a16="http://schemas.microsoft.com/office/drawing/2014/main" id="{1DD15E07-F4BD-4CDB-9F51-7A1F2CA071E8}"/>
              </a:ext>
            </a:extLst>
          </p:cNvPr>
          <p:cNvSpPr/>
          <p:nvPr/>
        </p:nvSpPr>
        <p:spPr>
          <a:xfrm>
            <a:off x="6282822" y="5652864"/>
            <a:ext cx="2952000" cy="775597"/>
          </a:xfrm>
          <a:custGeom>
            <a:avLst/>
            <a:gdLst>
              <a:gd name="connsiteX0" fmla="*/ 0 w 1400372"/>
              <a:gd name="connsiteY0" fmla="*/ 0 h 2635200"/>
              <a:gd name="connsiteX1" fmla="*/ 1400372 w 1400372"/>
              <a:gd name="connsiteY1" fmla="*/ 0 h 2635200"/>
              <a:gd name="connsiteX2" fmla="*/ 1400372 w 1400372"/>
              <a:gd name="connsiteY2" fmla="*/ 2635200 h 2635200"/>
              <a:gd name="connsiteX3" fmla="*/ 0 w 1400372"/>
              <a:gd name="connsiteY3" fmla="*/ 2635200 h 2635200"/>
              <a:gd name="connsiteX4" fmla="*/ 0 w 1400372"/>
              <a:gd name="connsiteY4" fmla="*/ 0 h 263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0372" h="2635200">
                <a:moveTo>
                  <a:pt x="0" y="0"/>
                </a:moveTo>
                <a:lnTo>
                  <a:pt x="1400372" y="0"/>
                </a:lnTo>
                <a:lnTo>
                  <a:pt x="1400372" y="2635200"/>
                </a:lnTo>
                <a:lnTo>
                  <a:pt x="0" y="26352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  <a:alpha val="89804"/>
            </a:schemeClr>
          </a:solidFill>
          <a:ln w="3175">
            <a:solidFill>
              <a:srgbClr val="FFCA21"/>
            </a:solidFill>
          </a:ln>
        </p:spPr>
        <p:style>
          <a:lnRef idx="2">
            <a:schemeClr val="accent6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6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6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4008" tIns="64008" rIns="85344" bIns="96012" numCol="1" spcCol="1270" anchor="t" anchorCtr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4300" lvl="1" indent="-114300" algn="r" defTabSz="533400" rtl="1">
              <a:lnSpc>
                <a:spcPct val="90000"/>
              </a:lnSpc>
              <a:spcAft>
                <a:spcPct val="15000"/>
              </a:spcAft>
              <a:buFontTx/>
              <a:buChar char="••"/>
            </a:pPr>
            <a:r>
              <a:rPr lang="ar-MA" sz="1400" b="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cs typeface="Calibri" pitchFamily="34" charset="0"/>
              </a:rPr>
              <a:t>حصر حاجيات التكوين </a:t>
            </a:r>
          </a:p>
          <a:p>
            <a:pPr marL="114300" lvl="1" indent="-114300" algn="r" defTabSz="533400" rtl="1">
              <a:lnSpc>
                <a:spcPct val="90000"/>
              </a:lnSpc>
              <a:spcAft>
                <a:spcPct val="15000"/>
              </a:spcAft>
              <a:buFontTx/>
              <a:buChar char="••"/>
            </a:pPr>
            <a:r>
              <a:rPr lang="ar-MA" sz="1400" b="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cs typeface="Calibri" pitchFamily="34" charset="0"/>
              </a:rPr>
              <a:t>مساهمة في البرمجة و الإنجاز و التقييم لبرامج التكوينية</a:t>
            </a:r>
            <a:endParaRPr lang="fr-FR" sz="1400" b="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cs typeface="Calibri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63F3EC5-3FBC-3DE4-9155-3A18F882B64C}"/>
              </a:ext>
            </a:extLst>
          </p:cNvPr>
          <p:cNvSpPr/>
          <p:nvPr/>
        </p:nvSpPr>
        <p:spPr>
          <a:xfrm>
            <a:off x="3611347" y="732346"/>
            <a:ext cx="2952000" cy="743253"/>
          </a:xfrm>
          <a:prstGeom prst="rect">
            <a:avLst/>
          </a:prstGeom>
          <a:ln>
            <a:solidFill>
              <a:srgbClr val="34486E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spcFirstLastPara="0" vert="horz" wrap="square" lIns="85344" tIns="48768" rIns="85344" bIns="48768" numCol="1" spcCol="1270" anchor="ctr" anchorCtr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33400" rtl="1">
              <a:lnSpc>
                <a:spcPct val="90000"/>
              </a:lnSpc>
              <a:spcAft>
                <a:spcPct val="35000"/>
              </a:spcAft>
            </a:pPr>
            <a:r>
              <a:rPr lang="ar-MA" sz="1400" kern="0" dirty="0">
                <a:solidFill>
                  <a:schemeClr val="tx1"/>
                </a:solidFill>
                <a:cs typeface="Calibri" panose="020F0502020204030204" pitchFamily="34" charset="0"/>
              </a:rPr>
              <a:t>هيأة وطنية للتوجيه في مجال تدبير الموارد البشرية التكوين :</a:t>
            </a:r>
          </a:p>
          <a:p>
            <a:pPr algn="ctr" defTabSz="533400" rtl="1">
              <a:lnSpc>
                <a:spcPct val="90000"/>
              </a:lnSpc>
              <a:spcAft>
                <a:spcPct val="35000"/>
              </a:spcAft>
            </a:pPr>
            <a:r>
              <a:rPr lang="ar-MA" sz="1400" kern="0" dirty="0">
                <a:solidFill>
                  <a:schemeClr val="tx1"/>
                </a:solidFill>
                <a:cs typeface="Calibri" panose="020F0502020204030204" pitchFamily="34" charset="0"/>
              </a:rPr>
              <a:t> </a:t>
            </a:r>
            <a:r>
              <a:rPr lang="ar-MA" sz="1400" kern="0" dirty="0">
                <a:solidFill>
                  <a:schemeClr val="accent3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Calibri" panose="020F0502020204030204" pitchFamily="34" charset="0"/>
              </a:rPr>
              <a:t>دور توجيهي و اختيارات استراتيجية</a:t>
            </a:r>
            <a:endParaRPr lang="fr-FR" sz="1400" dirty="0">
              <a:solidFill>
                <a:schemeClr val="accent3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Calibri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F9B6C213-046B-E3F3-8A68-4FA5ED0E70EE}"/>
              </a:ext>
            </a:extLst>
          </p:cNvPr>
          <p:cNvSpPr/>
          <p:nvPr/>
        </p:nvSpPr>
        <p:spPr>
          <a:xfrm>
            <a:off x="3611347" y="1551398"/>
            <a:ext cx="2952000" cy="2257541"/>
          </a:xfrm>
          <a:prstGeom prst="rect">
            <a:avLst/>
          </a:prstGeom>
          <a:solidFill>
            <a:schemeClr val="accent1">
              <a:lumMod val="20000"/>
              <a:lumOff val="80000"/>
              <a:alpha val="89804"/>
            </a:schemeClr>
          </a:solidFill>
          <a:ln w="3175">
            <a:solidFill>
              <a:srgbClr val="FFCA21"/>
            </a:solidFill>
          </a:ln>
        </p:spPr>
        <p:style>
          <a:lnRef idx="2">
            <a:schemeClr val="accent6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6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6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4008" tIns="64008" rIns="85344" bIns="96012" numCol="1" spcCol="1270" anchor="t" anchorCtr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4300" lvl="1" indent="-114300" algn="r" defTabSz="533400" rtl="1">
              <a:spcBef>
                <a:spcPts val="1200"/>
              </a:spcBef>
              <a:spcAft>
                <a:spcPct val="15000"/>
              </a:spcAft>
              <a:buFontTx/>
              <a:buChar char="••"/>
            </a:pPr>
            <a:r>
              <a:rPr lang="ar-MA" sz="1400" b="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cs typeface="Calibri" pitchFamily="34" charset="0"/>
              </a:rPr>
              <a:t>تحديد التوجهات العامة في مجال تدبير الموارد البشرية</a:t>
            </a:r>
            <a:endParaRPr lang="fr-FR" sz="1400" b="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cs typeface="Calibri" pitchFamily="34" charset="0"/>
            </a:endParaRPr>
          </a:p>
          <a:p>
            <a:pPr marL="114300" lvl="1" indent="-114300" algn="r" defTabSz="533400" rtl="1">
              <a:spcBef>
                <a:spcPts val="1200"/>
              </a:spcBef>
              <a:spcAft>
                <a:spcPct val="15000"/>
              </a:spcAft>
              <a:buFontTx/>
              <a:buChar char="••"/>
            </a:pPr>
            <a:r>
              <a:rPr lang="ar-MA" sz="1400" b="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cs typeface="Calibri" pitchFamily="34" charset="0"/>
              </a:rPr>
              <a:t>تنسيق بين مختلف الفاعلين المعنيين</a:t>
            </a:r>
          </a:p>
          <a:p>
            <a:pPr marL="114300" lvl="1" indent="-114300" algn="just" defTabSz="533400" rtl="1">
              <a:spcBef>
                <a:spcPts val="1200"/>
              </a:spcBef>
              <a:spcAft>
                <a:spcPct val="15000"/>
              </a:spcAft>
              <a:buFontTx/>
              <a:buChar char="••"/>
            </a:pPr>
            <a:r>
              <a:rPr lang="ar-MA" sz="1400" b="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cs typeface="Calibri" pitchFamily="34" charset="0"/>
              </a:rPr>
              <a:t>الإختيارات الإستراتيجية  فيما يخص الخطوط العريضة المتعلقة بتقوية القدرات الموارد البشرية :(تحديد المجالات ذات الأولوية - المهن الإستراتيجية - سقف الموارد المرصودة – معدل  السنوي لأيام التكوين</a:t>
            </a:r>
          </a:p>
        </p:txBody>
      </p:sp>
    </p:spTree>
    <p:extLst>
      <p:ext uri="{BB962C8B-B14F-4D97-AF65-F5344CB8AC3E}">
        <p14:creationId xmlns:p14="http://schemas.microsoft.com/office/powerpoint/2010/main" val="81690127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98065"/>
            <a:ext cx="9906000" cy="492443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>
            <a:spAutoFit/>
          </a:bodyPr>
          <a:lstStyle/>
          <a:p>
            <a:pPr algn="ctr" rtl="1"/>
            <a:r>
              <a:rPr lang="ar-MA" sz="2600" dirty="0">
                <a:solidFill>
                  <a:schemeClr val="bg1"/>
                </a:solidFill>
                <a:latin typeface="Sakkal Majalla" panose="02000000000000000000" pitchFamily="2" charset="-78"/>
                <a:ea typeface="Calibri"/>
                <a:cs typeface="Sakkal Majalla" panose="02000000000000000000" pitchFamily="2" charset="-78"/>
              </a:rPr>
              <a:t>المحور  الأول : تحديد المسؤوليات بين مختلف المتدخلين  وفق نظام الحكامة الجديد  للتكوين</a:t>
            </a:r>
            <a:endParaRPr lang="fr-FR" sz="2275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FE67769-B51D-3616-3CF1-9D22600866E1}"/>
              </a:ext>
            </a:extLst>
          </p:cNvPr>
          <p:cNvSpPr/>
          <p:nvPr/>
        </p:nvSpPr>
        <p:spPr>
          <a:xfrm>
            <a:off x="0" y="6605149"/>
            <a:ext cx="9906000" cy="154786"/>
          </a:xfrm>
          <a:prstGeom prst="rect">
            <a:avLst/>
          </a:prstGeom>
          <a:solidFill>
            <a:srgbClr val="34486E"/>
          </a:solidFill>
        </p:spPr>
        <p:txBody>
          <a:bodyPr wrap="square">
            <a:spAutoFit/>
          </a:bodyPr>
          <a:lstStyle/>
          <a:p>
            <a:pPr algn="ctr"/>
            <a:endParaRPr lang="fr-FR" sz="406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F75FC789-140B-5D28-8FBD-29819062B5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31486" y="122091"/>
            <a:ext cx="492903" cy="475131"/>
          </a:xfrm>
          <a:prstGeom prst="rect">
            <a:avLst/>
          </a:prstGeom>
        </p:spPr>
      </p:pic>
      <p:graphicFrame>
        <p:nvGraphicFramePr>
          <p:cNvPr id="25" name="Tableau 24">
            <a:extLst>
              <a:ext uri="{FF2B5EF4-FFF2-40B4-BE49-F238E27FC236}">
                <a16:creationId xmlns:a16="http://schemas.microsoft.com/office/drawing/2014/main" id="{14944753-CBA3-57B9-D29C-73A6C5A031F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0432289"/>
              </p:ext>
            </p:extLst>
          </p:nvPr>
        </p:nvGraphicFramePr>
        <p:xfrm>
          <a:off x="141767" y="778035"/>
          <a:ext cx="9189719" cy="538671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454952">
                  <a:extLst>
                    <a:ext uri="{9D8B030D-6E8A-4147-A177-3AD203B41FA5}">
                      <a16:colId xmlns:a16="http://schemas.microsoft.com/office/drawing/2014/main" val="641491550"/>
                    </a:ext>
                  </a:extLst>
                </a:gridCol>
                <a:gridCol w="1425408">
                  <a:extLst>
                    <a:ext uri="{9D8B030D-6E8A-4147-A177-3AD203B41FA5}">
                      <a16:colId xmlns:a16="http://schemas.microsoft.com/office/drawing/2014/main" val="3788522524"/>
                    </a:ext>
                  </a:extLst>
                </a:gridCol>
                <a:gridCol w="1543050">
                  <a:extLst>
                    <a:ext uri="{9D8B030D-6E8A-4147-A177-3AD203B41FA5}">
                      <a16:colId xmlns:a16="http://schemas.microsoft.com/office/drawing/2014/main" val="2028244350"/>
                    </a:ext>
                  </a:extLst>
                </a:gridCol>
                <a:gridCol w="1765719">
                  <a:extLst>
                    <a:ext uri="{9D8B030D-6E8A-4147-A177-3AD203B41FA5}">
                      <a16:colId xmlns:a16="http://schemas.microsoft.com/office/drawing/2014/main" val="2002703408"/>
                    </a:ext>
                  </a:extLst>
                </a:gridCol>
                <a:gridCol w="1777581">
                  <a:extLst>
                    <a:ext uri="{9D8B030D-6E8A-4147-A177-3AD203B41FA5}">
                      <a16:colId xmlns:a16="http://schemas.microsoft.com/office/drawing/2014/main" val="2324961416"/>
                    </a:ext>
                  </a:extLst>
                </a:gridCol>
                <a:gridCol w="1223009">
                  <a:extLst>
                    <a:ext uri="{9D8B030D-6E8A-4147-A177-3AD203B41FA5}">
                      <a16:colId xmlns:a16="http://schemas.microsoft.com/office/drawing/2014/main" val="36618569"/>
                    </a:ext>
                  </a:extLst>
                </a:gridCol>
              </a:tblGrid>
              <a:tr h="976505"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ar-MA" sz="16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جماعات الترابية</a:t>
                      </a:r>
                      <a:endParaRPr lang="en-US" sz="16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87981" marR="87981" marT="43990" marB="4399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ar-MA" sz="16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جهات</a:t>
                      </a:r>
                      <a:endParaRPr lang="en-US" sz="16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87981" marR="87981" marT="43990" marB="4399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ar-MA" sz="16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ديرية العامة للجماعات الترابية </a:t>
                      </a:r>
                      <a:endParaRPr lang="en-US" sz="16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87981" marR="87981" marT="43990" marB="4399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ar-MA" sz="16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هيأة وطنية للتوجيه في مجال التكوين و الموارد البشرية الجماعية</a:t>
                      </a:r>
                      <a:endParaRPr lang="en-US" sz="16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87981" marR="87981" marT="43990" marB="4399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indent="44958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100" dirty="0">
                          <a:effectLst/>
                        </a:rPr>
                        <a:t> 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rtl="1"/>
                      <a:endParaRPr lang="ar-M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74816922"/>
                  </a:ext>
                </a:extLst>
              </a:tr>
              <a:tr h="82318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1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87981" marR="87981" marT="43990" marB="4399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87981" marR="87981" marT="43990" marB="43990" anchor="ctr"/>
                </a:tc>
                <a:tc>
                  <a:txBody>
                    <a:bodyPr/>
                    <a:lstStyle/>
                    <a:p>
                      <a:pPr indent="44958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en-US" sz="1100" dirty="0">
                        <a:effectLst/>
                      </a:endParaRPr>
                    </a:p>
                  </a:txBody>
                  <a:tcPr marL="87981" marR="87981" marT="43990" marB="43990" anchor="ctr"/>
                </a:tc>
                <a:tc>
                  <a:txBody>
                    <a:bodyPr/>
                    <a:lstStyle/>
                    <a:p>
                      <a:pPr indent="44958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en-US" sz="1100" dirty="0">
                        <a:effectLst/>
                      </a:endParaRPr>
                    </a:p>
                  </a:txBody>
                  <a:tcPr marL="87981" marR="87981" marT="43990" marB="43990" anchor="ctr"/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ar-MA" sz="14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توجهات العامة في مجال تدبير الموارد البشرية</a:t>
                      </a:r>
                      <a:endParaRPr lang="en-US" sz="14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ar-MA" sz="16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عملية التخطيط</a:t>
                      </a:r>
                      <a:endParaRPr lang="en-US" sz="16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9301353"/>
                  </a:ext>
                </a:extLst>
              </a:tr>
              <a:tr h="69943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87981" marR="87981" marT="43990" marB="43990" anchor="ctr"/>
                </a:tc>
                <a:tc>
                  <a:txBody>
                    <a:bodyPr/>
                    <a:lstStyle/>
                    <a:p>
                      <a:pPr indent="44958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en-US" sz="1100" dirty="0">
                        <a:effectLst/>
                      </a:endParaRPr>
                    </a:p>
                  </a:txBody>
                  <a:tcPr marL="87981" marR="87981" marT="43990" marB="43990" anchor="ctr"/>
                </a:tc>
                <a:tc>
                  <a:txBody>
                    <a:bodyPr/>
                    <a:lstStyle/>
                    <a:p>
                      <a:pPr indent="44958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en-US" sz="1100" dirty="0">
                        <a:effectLst/>
                      </a:endParaRPr>
                    </a:p>
                  </a:txBody>
                  <a:tcPr marL="87981" marR="87981" marT="43990" marB="4399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87981" marR="87981" marT="43990" marB="43990" anchor="ctr"/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ar-MA" sz="14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خطط السنوي و دليل التكوين</a:t>
                      </a:r>
                      <a:endParaRPr lang="en-US" sz="14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rtl="1"/>
                      <a:endParaRPr lang="ar-M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63409561"/>
                  </a:ext>
                </a:extLst>
              </a:tr>
              <a:tr h="68117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87981" marR="87981" marT="43990" marB="4399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87981" marR="87981" marT="43990" marB="4399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1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87981" marR="87981" marT="43990" marB="4399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87981" marR="87981" marT="43990" marB="43990" anchor="ctr"/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ar-MA" sz="14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برنامج التكوين للجماعة</a:t>
                      </a:r>
                      <a:endParaRPr lang="en-US" sz="14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rtl="1"/>
                      <a:endParaRPr lang="ar-M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24987489"/>
                  </a:ext>
                </a:extLst>
              </a:tr>
              <a:tr h="52268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87981" marR="87981" marT="43990" marB="4399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1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87981" marR="87981" marT="43990" marB="4399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1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87981" marR="87981" marT="43990" marB="4399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87981" marR="87981" marT="43990" marB="43990" anchor="ctr"/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ar-MA" sz="14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تنفيذ</a:t>
                      </a:r>
                      <a:endParaRPr lang="en-US" sz="14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ar-MA" sz="16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عملية التنفيذ</a:t>
                      </a:r>
                      <a:endParaRPr lang="en-US" sz="16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3901926"/>
                  </a:ext>
                </a:extLst>
              </a:tr>
              <a:tr h="59546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87981" marR="87981" marT="43990" marB="4399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87981" marR="87981" marT="43990" marB="4399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87981" marR="87981" marT="43990" marB="4399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87981" marR="87981" marT="43990" marB="43990" anchor="ctr"/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ar-MA" sz="14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تتبع على الصعيد الوطني الجهوي و الجماعي</a:t>
                      </a:r>
                      <a:endParaRPr lang="en-US" sz="14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rtl="1"/>
                      <a:endParaRPr lang="ar-M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94257547"/>
                  </a:ext>
                </a:extLst>
              </a:tr>
              <a:tr h="54413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87981" marR="87981" marT="43990" marB="4399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87981" marR="87981" marT="43990" marB="4399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87981" marR="87981" marT="43990" marB="4399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87981" marR="87981" marT="43990" marB="43990" anchor="ctr"/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ar-MA" sz="14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قييم الجزئي أو الفردي</a:t>
                      </a:r>
                      <a:endParaRPr lang="en-US" sz="14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ar-MA" sz="16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عملية التقييم</a:t>
                      </a:r>
                      <a:endParaRPr lang="en-US" sz="16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5642317"/>
                  </a:ext>
                </a:extLst>
              </a:tr>
              <a:tr h="54413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87981" marR="87981" marT="43990" marB="4399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87981" marR="87981" marT="43990" marB="4399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87981" marR="87981" marT="43990" marB="4399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87981" marR="87981" marT="43990" marB="43990" anchor="ctr"/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ar-MA" sz="14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قييم العام للمنظومة</a:t>
                      </a:r>
                      <a:endParaRPr lang="en-US" sz="14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rtl="1"/>
                      <a:endParaRPr lang="ar-M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5406538"/>
                  </a:ext>
                </a:extLst>
              </a:tr>
            </a:tbl>
          </a:graphicData>
        </a:graphic>
      </p:graphicFrame>
      <p:sp>
        <p:nvSpPr>
          <p:cNvPr id="26" name="Rectangle 25">
            <a:extLst>
              <a:ext uri="{FF2B5EF4-FFF2-40B4-BE49-F238E27FC236}">
                <a16:creationId xmlns:a16="http://schemas.microsoft.com/office/drawing/2014/main" id="{150E4BB8-C5C5-08BF-A953-3F0A5A1DA314}"/>
              </a:ext>
            </a:extLst>
          </p:cNvPr>
          <p:cNvSpPr/>
          <p:nvPr/>
        </p:nvSpPr>
        <p:spPr bwMode="auto">
          <a:xfrm>
            <a:off x="3538701" y="2079619"/>
            <a:ext cx="447675" cy="406452"/>
          </a:xfrm>
          <a:prstGeom prst="rect">
            <a:avLst/>
          </a:prstGeom>
          <a:noFill/>
          <a:ln w="9525">
            <a:solidFill>
              <a:srgbClr val="1F497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fr-FR" sz="1200" b="1" kern="1200">
                <a:solidFill>
                  <a:srgbClr val="1F497D"/>
                </a:solidFill>
                <a:effectLst/>
                <a:latin typeface="Wingdings" panose="05000000000000000000" pitchFamily="2" charset="2"/>
                <a:ea typeface="Times New Roman" panose="02020603050405020304" pitchFamily="18" charset="0"/>
                <a:cs typeface="Arial" panose="020B0604020202020204" pitchFamily="34" charset="0"/>
              </a:rPr>
              <a:t>ü</a:t>
            </a:r>
            <a:endParaRPr lang="en-US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734E078-B7D1-DD6C-6816-59125C92645B}"/>
              </a:ext>
            </a:extLst>
          </p:cNvPr>
          <p:cNvSpPr/>
          <p:nvPr/>
        </p:nvSpPr>
        <p:spPr bwMode="auto">
          <a:xfrm>
            <a:off x="5212244" y="2079619"/>
            <a:ext cx="447675" cy="406452"/>
          </a:xfrm>
          <a:prstGeom prst="rect">
            <a:avLst/>
          </a:prstGeom>
          <a:noFill/>
          <a:ln w="9525">
            <a:solidFill>
              <a:srgbClr val="1F497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fr-FR" sz="1200" b="1" kern="1200" dirty="0">
                <a:solidFill>
                  <a:srgbClr val="1F497D"/>
                </a:solidFill>
                <a:effectLst/>
                <a:latin typeface="Wingdings" panose="05000000000000000000" pitchFamily="2" charset="2"/>
                <a:ea typeface="Times New Roman" panose="02020603050405020304" pitchFamily="18" charset="0"/>
                <a:cs typeface="Arial" panose="020B0604020202020204" pitchFamily="34" charset="0"/>
              </a:rPr>
              <a:t>ü</a:t>
            </a:r>
            <a:endParaRPr lang="en-US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998BAD1-FB50-8DE3-3925-23746A4ED832}"/>
              </a:ext>
            </a:extLst>
          </p:cNvPr>
          <p:cNvSpPr/>
          <p:nvPr/>
        </p:nvSpPr>
        <p:spPr bwMode="auto">
          <a:xfrm>
            <a:off x="3541559" y="2715960"/>
            <a:ext cx="447675" cy="406452"/>
          </a:xfrm>
          <a:prstGeom prst="rect">
            <a:avLst/>
          </a:prstGeom>
          <a:noFill/>
          <a:ln w="9525">
            <a:solidFill>
              <a:srgbClr val="1F497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fr-FR" sz="1200" b="1" kern="1200">
                <a:solidFill>
                  <a:srgbClr val="1F497D"/>
                </a:solidFill>
                <a:effectLst/>
                <a:latin typeface="Wingdings" panose="05000000000000000000" pitchFamily="2" charset="2"/>
                <a:ea typeface="Times New Roman" panose="02020603050405020304" pitchFamily="18" charset="0"/>
                <a:cs typeface="Arial" panose="020B0604020202020204" pitchFamily="34" charset="0"/>
              </a:rPr>
              <a:t>ü</a:t>
            </a:r>
            <a:endParaRPr lang="en-US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8B65988-3A31-0714-135F-6FC25A1CD23B}"/>
              </a:ext>
            </a:extLst>
          </p:cNvPr>
          <p:cNvSpPr/>
          <p:nvPr/>
        </p:nvSpPr>
        <p:spPr bwMode="auto">
          <a:xfrm>
            <a:off x="2123921" y="2732203"/>
            <a:ext cx="447675" cy="406452"/>
          </a:xfrm>
          <a:prstGeom prst="rect">
            <a:avLst/>
          </a:prstGeom>
          <a:noFill/>
          <a:ln w="9525">
            <a:solidFill>
              <a:srgbClr val="1F497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fr-FR" sz="1200" b="1" kern="1200">
                <a:solidFill>
                  <a:srgbClr val="1F497D"/>
                </a:solidFill>
                <a:effectLst/>
                <a:latin typeface="Wingdings" panose="05000000000000000000" pitchFamily="2" charset="2"/>
                <a:ea typeface="Times New Roman" panose="02020603050405020304" pitchFamily="18" charset="0"/>
                <a:cs typeface="Arial" panose="020B0604020202020204" pitchFamily="34" charset="0"/>
              </a:rPr>
              <a:t>ü</a:t>
            </a:r>
            <a:endParaRPr lang="en-US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1B45B12-8E9A-AA2E-7789-2C2AD9AD35B0}"/>
              </a:ext>
            </a:extLst>
          </p:cNvPr>
          <p:cNvSpPr/>
          <p:nvPr/>
        </p:nvSpPr>
        <p:spPr bwMode="auto">
          <a:xfrm>
            <a:off x="620559" y="2737540"/>
            <a:ext cx="447675" cy="406452"/>
          </a:xfrm>
          <a:prstGeom prst="rect">
            <a:avLst/>
          </a:prstGeom>
          <a:noFill/>
          <a:ln w="9525">
            <a:solidFill>
              <a:srgbClr val="1F497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spcAft>
                <a:spcPts val="0"/>
              </a:spcAft>
            </a:pPr>
            <a:endParaRPr lang="en-US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AF9BFF0-B953-8EBF-E722-7DAED2211D5F}"/>
              </a:ext>
            </a:extLst>
          </p:cNvPr>
          <p:cNvSpPr/>
          <p:nvPr/>
        </p:nvSpPr>
        <p:spPr bwMode="auto">
          <a:xfrm>
            <a:off x="620559" y="3429000"/>
            <a:ext cx="447675" cy="406452"/>
          </a:xfrm>
          <a:prstGeom prst="rect">
            <a:avLst/>
          </a:prstGeom>
          <a:noFill/>
          <a:ln w="9525">
            <a:solidFill>
              <a:srgbClr val="1F497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fr-FR" sz="1200" b="1" kern="1200">
                <a:solidFill>
                  <a:srgbClr val="1F497D"/>
                </a:solidFill>
                <a:effectLst/>
                <a:latin typeface="Wingdings" panose="05000000000000000000" pitchFamily="2" charset="2"/>
                <a:ea typeface="Times New Roman" panose="02020603050405020304" pitchFamily="18" charset="0"/>
                <a:cs typeface="Arial" panose="020B0604020202020204" pitchFamily="34" charset="0"/>
              </a:rPr>
              <a:t>ü</a:t>
            </a:r>
            <a:endParaRPr lang="en-US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5A73E28-A0AC-D87A-F7BD-A1181D328F18}"/>
              </a:ext>
            </a:extLst>
          </p:cNvPr>
          <p:cNvSpPr/>
          <p:nvPr/>
        </p:nvSpPr>
        <p:spPr bwMode="auto">
          <a:xfrm>
            <a:off x="3559972" y="4612897"/>
            <a:ext cx="447675" cy="406452"/>
          </a:xfrm>
          <a:prstGeom prst="rect">
            <a:avLst/>
          </a:prstGeom>
          <a:noFill/>
          <a:ln w="9525">
            <a:solidFill>
              <a:srgbClr val="1F497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fr-FR" sz="1200" b="1" kern="1200">
                <a:solidFill>
                  <a:srgbClr val="1F497D"/>
                </a:solidFill>
                <a:effectLst/>
                <a:latin typeface="Wingdings" panose="05000000000000000000" pitchFamily="2" charset="2"/>
                <a:ea typeface="Times New Roman" panose="02020603050405020304" pitchFamily="18" charset="0"/>
                <a:cs typeface="Arial" panose="020B0604020202020204" pitchFamily="34" charset="0"/>
              </a:rPr>
              <a:t>ü</a:t>
            </a:r>
            <a:endParaRPr lang="en-US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7AE1BDB-A547-6E78-639C-5AB16DF2E31D}"/>
              </a:ext>
            </a:extLst>
          </p:cNvPr>
          <p:cNvSpPr/>
          <p:nvPr/>
        </p:nvSpPr>
        <p:spPr bwMode="auto">
          <a:xfrm>
            <a:off x="3541559" y="4014427"/>
            <a:ext cx="447675" cy="406452"/>
          </a:xfrm>
          <a:prstGeom prst="rect">
            <a:avLst/>
          </a:prstGeom>
          <a:noFill/>
          <a:ln w="9525">
            <a:solidFill>
              <a:srgbClr val="1F497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fr-FR" sz="1200" b="1" kern="1200">
                <a:solidFill>
                  <a:srgbClr val="1F497D"/>
                </a:solidFill>
                <a:effectLst/>
                <a:latin typeface="Wingdings" panose="05000000000000000000" pitchFamily="2" charset="2"/>
                <a:ea typeface="Times New Roman" panose="02020603050405020304" pitchFamily="18" charset="0"/>
                <a:cs typeface="Arial" panose="020B0604020202020204" pitchFamily="34" charset="0"/>
              </a:rPr>
              <a:t>ü</a:t>
            </a:r>
            <a:endParaRPr lang="en-US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A2FF437-CB84-CD7D-1CFD-61A01E072511}"/>
              </a:ext>
            </a:extLst>
          </p:cNvPr>
          <p:cNvSpPr/>
          <p:nvPr/>
        </p:nvSpPr>
        <p:spPr bwMode="auto">
          <a:xfrm>
            <a:off x="2123922" y="4014427"/>
            <a:ext cx="447675" cy="406452"/>
          </a:xfrm>
          <a:prstGeom prst="rect">
            <a:avLst/>
          </a:prstGeom>
          <a:noFill/>
          <a:ln w="9525">
            <a:solidFill>
              <a:srgbClr val="1F497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fr-FR" sz="1200" b="1" kern="1200">
                <a:solidFill>
                  <a:srgbClr val="1F497D"/>
                </a:solidFill>
                <a:effectLst/>
                <a:latin typeface="Wingdings" panose="05000000000000000000" pitchFamily="2" charset="2"/>
                <a:ea typeface="Times New Roman" panose="02020603050405020304" pitchFamily="18" charset="0"/>
                <a:cs typeface="Arial" panose="020B0604020202020204" pitchFamily="34" charset="0"/>
              </a:rPr>
              <a:t>ü</a:t>
            </a:r>
            <a:endParaRPr lang="en-US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99925F81-7D67-39DE-95CF-E1D829F7FA27}"/>
              </a:ext>
            </a:extLst>
          </p:cNvPr>
          <p:cNvSpPr/>
          <p:nvPr/>
        </p:nvSpPr>
        <p:spPr bwMode="auto">
          <a:xfrm>
            <a:off x="639289" y="2124455"/>
            <a:ext cx="447675" cy="406452"/>
          </a:xfrm>
          <a:prstGeom prst="rect">
            <a:avLst/>
          </a:prstGeom>
          <a:noFill/>
          <a:ln w="9525">
            <a:solidFill>
              <a:srgbClr val="1F497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spcAft>
                <a:spcPts val="0"/>
              </a:spcAft>
            </a:pPr>
            <a:endParaRPr lang="en-US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60F91F9-21AB-194C-D2A9-10577EA2F9D4}"/>
              </a:ext>
            </a:extLst>
          </p:cNvPr>
          <p:cNvSpPr/>
          <p:nvPr/>
        </p:nvSpPr>
        <p:spPr bwMode="auto">
          <a:xfrm>
            <a:off x="2088995" y="2079619"/>
            <a:ext cx="447675" cy="406452"/>
          </a:xfrm>
          <a:prstGeom prst="rect">
            <a:avLst/>
          </a:prstGeom>
          <a:noFill/>
          <a:ln w="9525">
            <a:solidFill>
              <a:srgbClr val="1F497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spcAft>
                <a:spcPts val="0"/>
              </a:spcAft>
            </a:pPr>
            <a:endParaRPr lang="en-US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10E3E4B-E8CC-1B09-6277-E90D15EF24F3}"/>
              </a:ext>
            </a:extLst>
          </p:cNvPr>
          <p:cNvSpPr/>
          <p:nvPr/>
        </p:nvSpPr>
        <p:spPr bwMode="auto">
          <a:xfrm>
            <a:off x="5240818" y="2742265"/>
            <a:ext cx="390525" cy="406104"/>
          </a:xfrm>
          <a:prstGeom prst="rect">
            <a:avLst/>
          </a:prstGeom>
          <a:noFill/>
          <a:ln w="9525">
            <a:solidFill>
              <a:srgbClr val="1F497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spcAft>
                <a:spcPts val="0"/>
              </a:spcAft>
            </a:pPr>
            <a:endParaRPr lang="en-US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41AE8BD1-ED2D-328C-218B-7E97C40C567B}"/>
              </a:ext>
            </a:extLst>
          </p:cNvPr>
          <p:cNvSpPr/>
          <p:nvPr/>
        </p:nvSpPr>
        <p:spPr bwMode="auto">
          <a:xfrm>
            <a:off x="2146146" y="3471393"/>
            <a:ext cx="447675" cy="406452"/>
          </a:xfrm>
          <a:prstGeom prst="rect">
            <a:avLst/>
          </a:prstGeom>
          <a:noFill/>
          <a:ln w="9525">
            <a:solidFill>
              <a:srgbClr val="1F497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spcAft>
                <a:spcPts val="0"/>
              </a:spcAft>
            </a:pPr>
            <a:endParaRPr lang="en-US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563AD1BE-C7A9-8600-E7B4-1FCD036E0E36}"/>
              </a:ext>
            </a:extLst>
          </p:cNvPr>
          <p:cNvSpPr/>
          <p:nvPr/>
        </p:nvSpPr>
        <p:spPr bwMode="auto">
          <a:xfrm>
            <a:off x="3514888" y="3460583"/>
            <a:ext cx="447675" cy="406452"/>
          </a:xfrm>
          <a:prstGeom prst="rect">
            <a:avLst/>
          </a:prstGeom>
          <a:noFill/>
          <a:ln w="9525">
            <a:solidFill>
              <a:srgbClr val="1F497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spcAft>
                <a:spcPts val="0"/>
              </a:spcAft>
            </a:pPr>
            <a:endParaRPr lang="en-US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4D8201D6-C26E-8E98-F7CA-C4CC0F5C9853}"/>
              </a:ext>
            </a:extLst>
          </p:cNvPr>
          <p:cNvSpPr/>
          <p:nvPr/>
        </p:nvSpPr>
        <p:spPr bwMode="auto">
          <a:xfrm>
            <a:off x="5212244" y="3471393"/>
            <a:ext cx="447675" cy="406452"/>
          </a:xfrm>
          <a:prstGeom prst="rect">
            <a:avLst/>
          </a:prstGeom>
          <a:noFill/>
          <a:ln w="9525">
            <a:solidFill>
              <a:srgbClr val="1F497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spcAft>
                <a:spcPts val="0"/>
              </a:spcAft>
            </a:pPr>
            <a:endParaRPr lang="en-US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4E830801-8EE0-09D3-4346-4A2BCD055F65}"/>
              </a:ext>
            </a:extLst>
          </p:cNvPr>
          <p:cNvSpPr/>
          <p:nvPr/>
        </p:nvSpPr>
        <p:spPr bwMode="auto">
          <a:xfrm>
            <a:off x="620558" y="4014427"/>
            <a:ext cx="447675" cy="406452"/>
          </a:xfrm>
          <a:prstGeom prst="rect">
            <a:avLst/>
          </a:prstGeom>
          <a:noFill/>
          <a:ln w="9525">
            <a:solidFill>
              <a:srgbClr val="1F497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fr-FR" sz="1200" b="1" kern="1200">
                <a:solidFill>
                  <a:srgbClr val="1F497D"/>
                </a:solidFill>
                <a:effectLst/>
                <a:latin typeface="Wingdings" panose="05000000000000000000" pitchFamily="2" charset="2"/>
                <a:ea typeface="Times New Roman" panose="02020603050405020304" pitchFamily="18" charset="0"/>
                <a:cs typeface="Arial" panose="020B0604020202020204" pitchFamily="34" charset="0"/>
              </a:rPr>
              <a:t>ü</a:t>
            </a:r>
            <a:endParaRPr lang="en-US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15190C36-5629-B3F6-02F8-91BF77F0D208}"/>
              </a:ext>
            </a:extLst>
          </p:cNvPr>
          <p:cNvSpPr/>
          <p:nvPr/>
        </p:nvSpPr>
        <p:spPr bwMode="auto">
          <a:xfrm>
            <a:off x="5226529" y="4019897"/>
            <a:ext cx="419102" cy="402205"/>
          </a:xfrm>
          <a:prstGeom prst="rect">
            <a:avLst/>
          </a:prstGeom>
          <a:noFill/>
          <a:ln w="9525">
            <a:solidFill>
              <a:srgbClr val="1F497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spcAft>
                <a:spcPts val="0"/>
              </a:spcAft>
            </a:pPr>
            <a:endParaRPr lang="en-US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7FF66C1B-D6BB-EA31-11A8-A499576D5238}"/>
              </a:ext>
            </a:extLst>
          </p:cNvPr>
          <p:cNvSpPr/>
          <p:nvPr/>
        </p:nvSpPr>
        <p:spPr bwMode="auto">
          <a:xfrm>
            <a:off x="620557" y="4569032"/>
            <a:ext cx="447675" cy="406452"/>
          </a:xfrm>
          <a:prstGeom prst="rect">
            <a:avLst/>
          </a:prstGeom>
          <a:noFill/>
          <a:ln w="9525">
            <a:solidFill>
              <a:srgbClr val="1F497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fr-FR" sz="1200" b="1" kern="1200">
                <a:solidFill>
                  <a:srgbClr val="1F497D"/>
                </a:solidFill>
                <a:effectLst/>
                <a:latin typeface="Wingdings" panose="05000000000000000000" pitchFamily="2" charset="2"/>
                <a:ea typeface="Times New Roman" panose="02020603050405020304" pitchFamily="18" charset="0"/>
                <a:cs typeface="Arial" panose="020B0604020202020204" pitchFamily="34" charset="0"/>
              </a:rPr>
              <a:t>ü</a:t>
            </a:r>
            <a:endParaRPr lang="en-US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67765C91-076D-AA27-0682-301B00B0B13E}"/>
              </a:ext>
            </a:extLst>
          </p:cNvPr>
          <p:cNvSpPr/>
          <p:nvPr/>
        </p:nvSpPr>
        <p:spPr bwMode="auto">
          <a:xfrm>
            <a:off x="620555" y="5139048"/>
            <a:ext cx="447675" cy="406452"/>
          </a:xfrm>
          <a:prstGeom prst="rect">
            <a:avLst/>
          </a:prstGeom>
          <a:noFill/>
          <a:ln w="9525">
            <a:solidFill>
              <a:srgbClr val="1F497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fr-FR" sz="1200" b="1" kern="1200">
                <a:solidFill>
                  <a:srgbClr val="1F497D"/>
                </a:solidFill>
                <a:effectLst/>
                <a:latin typeface="Wingdings" panose="05000000000000000000" pitchFamily="2" charset="2"/>
                <a:ea typeface="Times New Roman" panose="02020603050405020304" pitchFamily="18" charset="0"/>
                <a:cs typeface="Arial" panose="020B0604020202020204" pitchFamily="34" charset="0"/>
              </a:rPr>
              <a:t>ü</a:t>
            </a:r>
            <a:endParaRPr lang="en-US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CA8AD445-EFBE-2EC4-C408-720068292C6C}"/>
              </a:ext>
            </a:extLst>
          </p:cNvPr>
          <p:cNvSpPr/>
          <p:nvPr/>
        </p:nvSpPr>
        <p:spPr bwMode="auto">
          <a:xfrm>
            <a:off x="5183668" y="4612897"/>
            <a:ext cx="447675" cy="406452"/>
          </a:xfrm>
          <a:prstGeom prst="rect">
            <a:avLst/>
          </a:prstGeom>
          <a:noFill/>
          <a:ln w="9525">
            <a:solidFill>
              <a:srgbClr val="1F497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spcAft>
                <a:spcPts val="0"/>
              </a:spcAft>
            </a:pPr>
            <a:endParaRPr lang="en-US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73990C87-E9BF-337F-996A-D6A2BE3BE302}"/>
              </a:ext>
            </a:extLst>
          </p:cNvPr>
          <p:cNvSpPr/>
          <p:nvPr/>
        </p:nvSpPr>
        <p:spPr bwMode="auto">
          <a:xfrm>
            <a:off x="5183668" y="5156550"/>
            <a:ext cx="447675" cy="406452"/>
          </a:xfrm>
          <a:prstGeom prst="rect">
            <a:avLst/>
          </a:prstGeom>
          <a:noFill/>
          <a:ln w="9525">
            <a:solidFill>
              <a:srgbClr val="1F497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spcAft>
                <a:spcPts val="0"/>
              </a:spcAft>
            </a:pPr>
            <a:endParaRPr lang="en-US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83B425D0-BB89-90B9-9EC8-4DDB6271670D}"/>
              </a:ext>
            </a:extLst>
          </p:cNvPr>
          <p:cNvSpPr/>
          <p:nvPr/>
        </p:nvSpPr>
        <p:spPr bwMode="auto">
          <a:xfrm>
            <a:off x="3557431" y="5156550"/>
            <a:ext cx="447675" cy="406452"/>
          </a:xfrm>
          <a:prstGeom prst="rect">
            <a:avLst/>
          </a:prstGeom>
          <a:noFill/>
          <a:ln w="9525">
            <a:solidFill>
              <a:srgbClr val="1F497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spcAft>
                <a:spcPts val="0"/>
              </a:spcAft>
            </a:pPr>
            <a:endParaRPr lang="en-US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B02A9C8B-2F9D-37DA-BF04-CA4F7563834B}"/>
              </a:ext>
            </a:extLst>
          </p:cNvPr>
          <p:cNvSpPr/>
          <p:nvPr/>
        </p:nvSpPr>
        <p:spPr bwMode="auto">
          <a:xfrm>
            <a:off x="620556" y="5709064"/>
            <a:ext cx="447675" cy="406452"/>
          </a:xfrm>
          <a:prstGeom prst="rect">
            <a:avLst/>
          </a:prstGeom>
          <a:noFill/>
          <a:ln w="9525">
            <a:solidFill>
              <a:srgbClr val="1F497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spcAft>
                <a:spcPts val="0"/>
              </a:spcAft>
            </a:pPr>
            <a:endParaRPr lang="en-US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F5603AB5-4675-1A7A-994C-5F58BB8598F2}"/>
              </a:ext>
            </a:extLst>
          </p:cNvPr>
          <p:cNvSpPr/>
          <p:nvPr/>
        </p:nvSpPr>
        <p:spPr bwMode="auto">
          <a:xfrm>
            <a:off x="2138842" y="5156550"/>
            <a:ext cx="447675" cy="406452"/>
          </a:xfrm>
          <a:prstGeom prst="rect">
            <a:avLst/>
          </a:prstGeom>
          <a:noFill/>
          <a:ln w="9525">
            <a:solidFill>
              <a:srgbClr val="1F497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spcAft>
                <a:spcPts val="0"/>
              </a:spcAft>
            </a:pPr>
            <a:endParaRPr lang="en-US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3BE27FA9-5676-1CA9-E6FC-BC076C7EF336}"/>
              </a:ext>
            </a:extLst>
          </p:cNvPr>
          <p:cNvSpPr/>
          <p:nvPr/>
        </p:nvSpPr>
        <p:spPr bwMode="auto">
          <a:xfrm>
            <a:off x="2093758" y="4598564"/>
            <a:ext cx="447675" cy="435118"/>
          </a:xfrm>
          <a:prstGeom prst="rect">
            <a:avLst/>
          </a:prstGeom>
          <a:noFill/>
          <a:ln w="9525">
            <a:solidFill>
              <a:srgbClr val="1F497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fr-FR" sz="1200" b="1" kern="1200">
                <a:solidFill>
                  <a:srgbClr val="1F497D"/>
                </a:solidFill>
                <a:effectLst/>
                <a:latin typeface="Wingdings" panose="05000000000000000000" pitchFamily="2" charset="2"/>
                <a:ea typeface="Times New Roman" panose="02020603050405020304" pitchFamily="18" charset="0"/>
                <a:cs typeface="Arial" panose="020B0604020202020204" pitchFamily="34" charset="0"/>
              </a:rPr>
              <a:t>ü</a:t>
            </a:r>
            <a:endParaRPr lang="en-US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0C23B7EC-CDDE-CA5D-61BA-56903B3B85B6}"/>
              </a:ext>
            </a:extLst>
          </p:cNvPr>
          <p:cNvSpPr/>
          <p:nvPr/>
        </p:nvSpPr>
        <p:spPr bwMode="auto">
          <a:xfrm>
            <a:off x="2123920" y="5696594"/>
            <a:ext cx="447675" cy="391253"/>
          </a:xfrm>
          <a:prstGeom prst="rect">
            <a:avLst/>
          </a:prstGeom>
          <a:noFill/>
          <a:ln w="9525">
            <a:solidFill>
              <a:srgbClr val="1F497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fr-FR" sz="1200" b="1" kern="1200">
                <a:solidFill>
                  <a:srgbClr val="1F497D"/>
                </a:solidFill>
                <a:effectLst/>
                <a:latin typeface="Wingdings" panose="05000000000000000000" pitchFamily="2" charset="2"/>
                <a:ea typeface="Times New Roman" panose="02020603050405020304" pitchFamily="18" charset="0"/>
                <a:cs typeface="Arial" panose="020B0604020202020204" pitchFamily="34" charset="0"/>
              </a:rPr>
              <a:t>ü</a:t>
            </a:r>
            <a:endParaRPr lang="en-US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2676BFA3-59A6-92B6-C869-05AE77F98E17}"/>
              </a:ext>
            </a:extLst>
          </p:cNvPr>
          <p:cNvSpPr/>
          <p:nvPr/>
        </p:nvSpPr>
        <p:spPr bwMode="auto">
          <a:xfrm>
            <a:off x="3559972" y="5696594"/>
            <a:ext cx="447675" cy="391253"/>
          </a:xfrm>
          <a:prstGeom prst="rect">
            <a:avLst/>
          </a:prstGeom>
          <a:noFill/>
          <a:ln w="9525">
            <a:solidFill>
              <a:srgbClr val="1F497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fr-FR" sz="1200" b="1" kern="1200">
                <a:solidFill>
                  <a:srgbClr val="1F497D"/>
                </a:solidFill>
                <a:effectLst/>
                <a:latin typeface="Wingdings" panose="05000000000000000000" pitchFamily="2" charset="2"/>
                <a:ea typeface="Times New Roman" panose="02020603050405020304" pitchFamily="18" charset="0"/>
                <a:cs typeface="Arial" panose="020B0604020202020204" pitchFamily="34" charset="0"/>
              </a:rPr>
              <a:t>ü</a:t>
            </a:r>
            <a:endParaRPr lang="en-US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CF9A45FA-4A45-B10F-1BE3-73A0477E1E94}"/>
              </a:ext>
            </a:extLst>
          </p:cNvPr>
          <p:cNvSpPr/>
          <p:nvPr/>
        </p:nvSpPr>
        <p:spPr bwMode="auto">
          <a:xfrm>
            <a:off x="5212242" y="5739646"/>
            <a:ext cx="447675" cy="391253"/>
          </a:xfrm>
          <a:prstGeom prst="rect">
            <a:avLst/>
          </a:prstGeom>
          <a:noFill/>
          <a:ln w="9525">
            <a:solidFill>
              <a:srgbClr val="1F497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fr-FR" sz="1200" b="1" kern="1200">
                <a:solidFill>
                  <a:srgbClr val="1F497D"/>
                </a:solidFill>
                <a:effectLst/>
                <a:latin typeface="Wingdings" panose="05000000000000000000" pitchFamily="2" charset="2"/>
                <a:ea typeface="Times New Roman" panose="02020603050405020304" pitchFamily="18" charset="0"/>
                <a:cs typeface="Arial" panose="020B0604020202020204" pitchFamily="34" charset="0"/>
              </a:rPr>
              <a:t>ü</a:t>
            </a:r>
            <a:endParaRPr lang="en-US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5962244"/>
      </p:ext>
    </p:extLst>
  </p:cSld>
  <p:clrMapOvr>
    <a:masterClrMapping/>
  </p:clrMapOvr>
  <p:transition spd="slow">
    <p:push dir="u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98065"/>
            <a:ext cx="9906000" cy="492443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>
            <a:spAutoFit/>
          </a:bodyPr>
          <a:lstStyle/>
          <a:p>
            <a:pPr algn="ctr" rtl="1"/>
            <a:r>
              <a:rPr lang="ar-MA" sz="2600" dirty="0">
                <a:solidFill>
                  <a:schemeClr val="bg1"/>
                </a:solidFill>
                <a:latin typeface="Sakkal Majalla" panose="02000000000000000000" pitchFamily="2" charset="-78"/>
                <a:ea typeface="Calibri"/>
                <a:cs typeface="Sakkal Majalla" panose="02000000000000000000" pitchFamily="2" charset="-78"/>
              </a:rPr>
              <a:t>المحور  الثاني  : يهدف لرفع من وتيرة  نشاط التكويني لتحقيق الأهداف الأربع التالية</a:t>
            </a:r>
            <a:endParaRPr lang="fr-FR" sz="2275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FE67769-B51D-3616-3CF1-9D22600866E1}"/>
              </a:ext>
            </a:extLst>
          </p:cNvPr>
          <p:cNvSpPr/>
          <p:nvPr/>
        </p:nvSpPr>
        <p:spPr>
          <a:xfrm>
            <a:off x="0" y="6605149"/>
            <a:ext cx="9906000" cy="154786"/>
          </a:xfrm>
          <a:prstGeom prst="rect">
            <a:avLst/>
          </a:prstGeom>
          <a:solidFill>
            <a:srgbClr val="34486E"/>
          </a:solidFill>
        </p:spPr>
        <p:txBody>
          <a:bodyPr wrap="square">
            <a:spAutoFit/>
          </a:bodyPr>
          <a:lstStyle/>
          <a:p>
            <a:pPr algn="ctr"/>
            <a:endParaRPr lang="fr-FR" sz="406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F75FC789-140B-5D28-8FBD-29819062B5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49190" y="120373"/>
            <a:ext cx="492903" cy="475131"/>
          </a:xfrm>
          <a:prstGeom prst="rect">
            <a:avLst/>
          </a:prstGeom>
        </p:spPr>
      </p:pic>
      <p:graphicFrame>
        <p:nvGraphicFramePr>
          <p:cNvPr id="2" name="Diagramme 1"/>
          <p:cNvGraphicFramePr/>
          <p:nvPr>
            <p:extLst>
              <p:ext uri="{D42A27DB-BD31-4B8C-83A1-F6EECF244321}">
                <p14:modId xmlns:p14="http://schemas.microsoft.com/office/powerpoint/2010/main" val="3676767293"/>
              </p:ext>
            </p:extLst>
          </p:nvPr>
        </p:nvGraphicFramePr>
        <p:xfrm>
          <a:off x="1651000" y="1227666"/>
          <a:ext cx="6604000" cy="4402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2589301674"/>
      </p:ext>
    </p:extLst>
  </p:cSld>
  <p:clrMapOvr>
    <a:masterClrMapping/>
  </p:clrMapOvr>
  <p:transition spd="slow">
    <p:push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3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 &lt;/m_chGroupingSymbol17909&gt;&lt;m_strSuffix17909&gt;%&lt;/m_strSuffix17909&gt;&lt;/m_precDefaultPercent&gt;&lt;m_precDefaultDate/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0&quot;/&gt;&lt;/m_mruColor&gt;&lt;m_eweekdayFirstOfWeek val=&quot;1&quot;/&gt;&lt;m_eweekdayFirstOfWorkweek val=&quot;7&quot;/&gt;&lt;m_eweekdayFirstOfWeekend val=&quot;5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UyIOJ7F0Cn0XI3f6EqD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2nruWFCk.2BpPcOwmLN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2nruWFCk.2BpPcOwmL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2nruWFCk.2BpPcOwmL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UyIOJ7F0Cn0XI3f6EqD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UyIOJ7F0Cn0XI3f6EqD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UyIOJ7F0Cn0XI3f6EqD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UyIOJ7F0Cn0XI3f6EqD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UyIOJ7F0Cn0XI3f6EqD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UyIOJ7F0Cn0XI3f6EqDg"/>
</p:tagLst>
</file>

<file path=ppt/theme/theme1.xml><?xml version="1.0" encoding="utf-8"?>
<a:theme xmlns:a="http://schemas.openxmlformats.org/drawingml/2006/main" name="Conception personnalisé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  <a:ln>
          <a:solidFill>
            <a:schemeClr val="bg1">
              <a:lumMod val="65000"/>
            </a:schemeClr>
          </a:solidFill>
        </a:ln>
      </a:spPr>
      <a:bodyPr wrap="square" lIns="72000" tIns="36000" rIns="72000" bIns="36000" rtlCol="0" anchor="ctr" anchorCtr="0">
        <a:normAutofit/>
      </a:bodyPr>
      <a:lstStyle>
        <a:defPPr marL="265113" indent="-265113" defTabSz="914286" fontAlgn="auto">
          <a:spcBef>
            <a:spcPts val="0"/>
          </a:spcBef>
          <a:spcAft>
            <a:spcPts val="0"/>
          </a:spcAft>
          <a:buFont typeface="Arial" pitchFamily="34" charset="0"/>
          <a:buChar char="•"/>
          <a:defRPr sz="1600" dirty="0" smtClean="0">
            <a:solidFill>
              <a:prstClr val="black"/>
            </a:solidFill>
            <a:latin typeface="+mj-lt"/>
            <a:cs typeface="Calibri" panose="020F0502020204030204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Thème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hème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7720</TotalTime>
  <Words>2408</Words>
  <Application>Microsoft Office PowerPoint</Application>
  <PresentationFormat>Format A4 (210 x 297 mm)</PresentationFormat>
  <Paragraphs>445</Paragraphs>
  <Slides>18</Slides>
  <Notes>16</Notes>
  <HiddenSlides>0</HiddenSlides>
  <MMClips>0</MMClips>
  <ScaleCrop>false</ScaleCrop>
  <HeadingPairs>
    <vt:vector size="6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2</vt:i4>
      </vt:variant>
      <vt:variant>
        <vt:lpstr>Titres des diapositives</vt:lpstr>
      </vt:variant>
      <vt:variant>
        <vt:i4>18</vt:i4>
      </vt:variant>
    </vt:vector>
  </HeadingPairs>
  <TitlesOfParts>
    <vt:vector size="27" baseType="lpstr">
      <vt:lpstr>Arial</vt:lpstr>
      <vt:lpstr>Arial Narrow</vt:lpstr>
      <vt:lpstr>Calibri</vt:lpstr>
      <vt:lpstr>Calibri Light</vt:lpstr>
      <vt:lpstr>Sakkal Majalla</vt:lpstr>
      <vt:lpstr>Times New Roman</vt:lpstr>
      <vt:lpstr>Wingdings</vt:lpstr>
      <vt:lpstr>Conception personnalisée</vt:lpstr>
      <vt:lpstr>Office Them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شكرا على انتباهكم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e 1</dc:title>
  <dc:creator>admin</dc:creator>
  <cp:keywords>DGCL, DFCAT;Stratégie de formation;Phase 2;Benchmark formation CT</cp:keywords>
  <cp:lastModifiedBy>El Ghouli Majdouline</cp:lastModifiedBy>
  <cp:revision>1898</cp:revision>
  <cp:lastPrinted>2019-11-21T19:24:13Z</cp:lastPrinted>
  <dcterms:created xsi:type="dcterms:W3CDTF">2019-07-16T13:21:23Z</dcterms:created>
  <dcterms:modified xsi:type="dcterms:W3CDTF">2022-07-14T10:04:57Z</dcterms:modified>
</cp:coreProperties>
</file>